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41"/>
  </p:notesMasterIdLst>
  <p:sldIdLst>
    <p:sldId id="256" r:id="rId2"/>
    <p:sldId id="330" r:id="rId3"/>
    <p:sldId id="290" r:id="rId4"/>
    <p:sldId id="258" r:id="rId5"/>
    <p:sldId id="294" r:id="rId6"/>
    <p:sldId id="2145705951" r:id="rId7"/>
    <p:sldId id="2145705978" r:id="rId8"/>
    <p:sldId id="2145705953" r:id="rId9"/>
    <p:sldId id="2145705960" r:id="rId10"/>
    <p:sldId id="2145705961" r:id="rId11"/>
    <p:sldId id="2145705962" r:id="rId12"/>
    <p:sldId id="2145705963" r:id="rId13"/>
    <p:sldId id="2145705964" r:id="rId14"/>
    <p:sldId id="2145705965" r:id="rId15"/>
    <p:sldId id="2145705966" r:id="rId16"/>
    <p:sldId id="2145705967" r:id="rId17"/>
    <p:sldId id="2145705958" r:id="rId18"/>
    <p:sldId id="2145705968" r:id="rId19"/>
    <p:sldId id="2145705969" r:id="rId20"/>
    <p:sldId id="2145705970" r:id="rId21"/>
    <p:sldId id="2145705971" r:id="rId22"/>
    <p:sldId id="2145705973" r:id="rId23"/>
    <p:sldId id="2145705972" r:id="rId24"/>
    <p:sldId id="2145705959" r:id="rId25"/>
    <p:sldId id="2145705974" r:id="rId26"/>
    <p:sldId id="2145705975" r:id="rId27"/>
    <p:sldId id="2145705976" r:id="rId28"/>
    <p:sldId id="2145705977" r:id="rId29"/>
    <p:sldId id="309" r:id="rId30"/>
    <p:sldId id="310" r:id="rId31"/>
    <p:sldId id="311" r:id="rId32"/>
    <p:sldId id="312" r:id="rId33"/>
    <p:sldId id="313" r:id="rId34"/>
    <p:sldId id="314" r:id="rId35"/>
    <p:sldId id="315" r:id="rId36"/>
    <p:sldId id="316" r:id="rId37"/>
    <p:sldId id="317" r:id="rId38"/>
    <p:sldId id="318" r:id="rId39"/>
    <p:sldId id="319" r:id="rId40"/>
  </p:sldIdLst>
  <p:sldSz cx="12192000" cy="68580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GoogleSlidesCustomDataVersion2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69" roundtripDataSignature="AMtx7mikRkjFzxOwHA8WAHOV29/jFXnz0g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B000"/>
    <a:srgbClr val="FFECAF"/>
    <a:srgbClr val="FFE181"/>
    <a:srgbClr val="FFEFBD"/>
    <a:srgbClr val="00DE6F"/>
    <a:srgbClr val="B5F5CC"/>
    <a:srgbClr val="388C54"/>
    <a:srgbClr val="00F67B"/>
    <a:srgbClr val="00D269"/>
    <a:srgbClr val="00F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924" autoAdjust="0"/>
    <p:restoredTop sz="95373" autoAdjust="0"/>
  </p:normalViewPr>
  <p:slideViewPr>
    <p:cSldViewPr snapToGrid="0">
      <p:cViewPr>
        <p:scale>
          <a:sx n="75" d="100"/>
          <a:sy n="75" d="100"/>
        </p:scale>
        <p:origin x="1347" y="336"/>
      </p:cViewPr>
      <p:guideLst/>
    </p:cSldViewPr>
  </p:slideViewPr>
  <p:notesTextViewPr>
    <p:cViewPr>
      <p:scale>
        <a:sx n="75" d="100"/>
        <a:sy n="75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71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73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69" Type="http://customschemas.google.com/relationships/presentationmetadata" Target="metadata"/><Relationship Id="rId8" Type="http://schemas.openxmlformats.org/officeDocument/2006/relationships/slide" Target="slides/slide7.xml"/><Relationship Id="rId72" Type="http://schemas.openxmlformats.org/officeDocument/2006/relationships/theme" Target="theme/theme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20" Type="http://schemas.openxmlformats.org/officeDocument/2006/relationships/slide" Target="slides/slide19.xml"/><Relationship Id="rId41" Type="http://schemas.openxmlformats.org/officeDocument/2006/relationships/notesMaster" Target="notesMasters/notesMaster1.xml"/><Relationship Id="rId70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2" name="Google Shape;192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93" name="Google Shape;193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</a:t>
            </a:fld>
            <a:endParaRPr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5" name="Google Shape;895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96" name="Google Shape;896;p1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97" name="Google Shape;897;p1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9</a:t>
            </a:fld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5" name="Google Shape;905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06" name="Google Shape;906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07" name="Google Shape;907;p1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30</a:t>
            </a:fld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0" name="Google Shape;910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1" name="Google Shape;911;p1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12" name="Google Shape;912;p1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31</a:t>
            </a:fld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8" name="Google Shape;918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9" name="Google Shape;919;p1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20" name="Google Shape;920;p1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32</a:t>
            </a:fld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9" name="Google Shape;949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50" name="Google Shape;950;p1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51" name="Google Shape;951;p1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33</a:t>
            </a:fld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" name="Google Shape;980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81" name="Google Shape;981;p1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82" name="Google Shape;982;p1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34</a:t>
            </a:fld>
            <a:endParaRPr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" name="Google Shape;1004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05" name="Google Shape;1005;p1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06" name="Google Shape;1006;p1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35</a:t>
            </a:fld>
            <a:endParaRPr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0" name="Google Shape;1070;p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71" name="Google Shape;1071;p1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72" name="Google Shape;1072;p1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36</a:t>
            </a:fld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2" name="Google Shape;1112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13" name="Google Shape;1113;p1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14" name="Google Shape;1114;p1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37</a:t>
            </a:fld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0" name="Google Shape;1120;p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21" name="Google Shape;1121;p2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2" name="Google Shape;1122;p2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38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1824571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4" name="Google Shape;1154;p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55" name="Google Shape;1155;p2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6" name="Google Shape;1156;p2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39</a:t>
            </a:fld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535643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11" name="Google Shape;211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2" name="Google Shape;212;p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</a:t>
            </a:fld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896698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2C8BA0-230E-EA3A-2A22-CA22A96281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9AACF9B-34F8-93CF-2437-B31EBF28153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50C6F3B-A9CF-65FF-7FF6-581C399606C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1F9F29-1B6F-B9FD-A477-CE3F0D92002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758554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BOARDS TAB SCREEN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vatar User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Id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icture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User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r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r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the all starred boards by the specific user(id=8).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b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Background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BoardStatus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erStarredBoar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b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b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BoardStatu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active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b.StarredBoardsStatu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b.Creat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DESC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recently viewed boards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4 recently viewed boards by specific user(id=1)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TOP 4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Background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vh.Access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BoardStatus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erViewHistory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vh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vh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vh.Owner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vh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5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BOARD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BoardStatu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active'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vh.Access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DESC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workspace that specific User(id=1) is member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Logo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Workspac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b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b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b.Owner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fi-FI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sr ON usr.Id = meb.User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WORKSPACE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b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Creat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all board that specific User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=1) is member for specific Workspace(id=1)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br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br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br.Owner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Workspac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Workspac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fi-FI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sr ON mbr.UserId = usr.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r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BOARD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Creat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;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8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437960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331ACC-32FC-F1B9-90C4-7114907885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CC3901C-2A32-CE6F-6DE9-0B410AE78D7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F4CFD98-8B22-76D8-DA5D-874DCDD559B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BOARDS TAB SCREEN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vatar User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Id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icture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User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r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r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the all starred boards by the specific user(id=8).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b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Background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BoardStatus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erStarredBoar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b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b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BoardStatu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active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b.StarredBoardsStatu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b.Creat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DESC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recently viewed boards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4 recently viewed boards by specific user(id=1)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TOP 4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Background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vh.Access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BoardStatus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erViewHistory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vh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vh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vh.Owner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vh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5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BOARD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BoardStatu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active'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vh.Access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DESC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workspace that specific User(id=1) is member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Logo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Workspac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b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b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b.Owner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fi-FI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sr ON usr.Id = meb.User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WORKSPACE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b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Creat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all board that specific User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=1) is member for specific Workspace(id=1)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br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br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br.Owner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Workspac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Workspac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fi-FI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sr ON mbr.UserId = usr.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r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BOARD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Creat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;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6E5599E-D032-3110-C4D0-0A799E56CABF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7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5161850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017605-807D-68AA-5E6F-884224ED78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AC4CAA5-1007-5EF5-4F28-40EC4B473D1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B867C65-19A1-0C46-2F2A-69B5EA69F83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BOARDS TAB SCREEN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vatar User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Id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icture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User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r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r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the all starred boards by the specific user(id=8).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b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Background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BoardStatus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erStarredBoar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b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b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BoardStatu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active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b.StarredBoardsStatu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b.Creat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DESC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recently viewed boards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4 recently viewed boards by specific user(id=1)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TOP 4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Background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vh.Access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BoardStatus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erViewHistory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vh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vh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vh.Owner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vh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5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BOARD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BoardStatu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active'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vh.Access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DESC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workspace that specific User(id=1) is member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Logo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Workspac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b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b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b.Owner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fi-FI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sr ON usr.Id = meb.User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WORKSPACE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b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Creat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all board that specific User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=1) is member for specific Workspace(id=1)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br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br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br.Owner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Workspac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Workspac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fi-FI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sr ON mbr.UserId = usr.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r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BOARD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Creat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;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4D4A33F-D3B1-EA58-8706-111AD967385B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4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031286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7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7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7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7.emf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tro / End">
  <p:cSld name="Intro / End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2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7" name="Google Shape;17;p23"/>
          <p:cNvGrpSpPr/>
          <p:nvPr/>
        </p:nvGrpSpPr>
        <p:grpSpPr>
          <a:xfrm>
            <a:off x="2424000" y="3370961"/>
            <a:ext cx="7489526" cy="1214079"/>
            <a:chOff x="2424000" y="3370961"/>
            <a:chExt cx="7489526" cy="1214079"/>
          </a:xfrm>
        </p:grpSpPr>
        <p:pic>
          <p:nvPicPr>
            <p:cNvPr id="18" name="Google Shape;18;p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2424000" y="3370961"/>
              <a:ext cx="7489526" cy="432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9" name="Google Shape;19;p23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2681512" y="4351040"/>
              <a:ext cx="6828977" cy="23400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4 image">
  <p:cSld name="Title, subtitle &amp; text with 1/4 image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35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6" name="Google Shape;76;p35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8285287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35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828655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" name="Google Shape;78;p3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492">
          <p15:clr>
            <a:srgbClr val="FBAE40"/>
          </p15:clr>
        </p15:guide>
        <p15:guide id="8" pos="576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 + white space for logo">
  <p:cSld name="Title, subtitle &amp; text with 1/3 image + white space for logo"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36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1" name="Google Shape;81;p36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" name="Google Shape;82;p36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36"/>
          <p:cNvSpPr txBox="1">
            <a:spLocks noGrp="1"/>
          </p:cNvSpPr>
          <p:nvPr>
            <p:ph type="body" idx="4"/>
          </p:nvPr>
        </p:nvSpPr>
        <p:spPr>
          <a:xfrm>
            <a:off x="8581425" y="5131789"/>
            <a:ext cx="3178576" cy="129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" name="Google Shape;84;p3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 with 1/4 image">
  <p:cSld name="Title, subtitle &amp; 2 texts with 1/4 image"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p37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7" name="Google Shape;87;p37"/>
          <p:cNvSpPr txBox="1">
            <a:spLocks noGrp="1"/>
          </p:cNvSpPr>
          <p:nvPr>
            <p:ph type="body" idx="1"/>
          </p:nvPr>
        </p:nvSpPr>
        <p:spPr>
          <a:xfrm>
            <a:off x="431998" y="2157413"/>
            <a:ext cx="3928356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" name="Google Shape;88;p37"/>
          <p:cNvSpPr txBox="1">
            <a:spLocks noGrp="1"/>
          </p:cNvSpPr>
          <p:nvPr>
            <p:ph type="body" idx="3"/>
          </p:nvPr>
        </p:nvSpPr>
        <p:spPr>
          <a:xfrm>
            <a:off x="431998" y="1530000"/>
            <a:ext cx="3928356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" name="Google Shape;89;p37"/>
          <p:cNvSpPr txBox="1">
            <a:spLocks noGrp="1"/>
          </p:cNvSpPr>
          <p:nvPr>
            <p:ph type="body" idx="4"/>
          </p:nvPr>
        </p:nvSpPr>
        <p:spPr>
          <a:xfrm>
            <a:off x="4792355" y="2157413"/>
            <a:ext cx="3924931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" name="Google Shape;90;p37"/>
          <p:cNvSpPr txBox="1">
            <a:spLocks noGrp="1"/>
          </p:cNvSpPr>
          <p:nvPr>
            <p:ph type="body" idx="5"/>
          </p:nvPr>
        </p:nvSpPr>
        <p:spPr>
          <a:xfrm>
            <a:off x="4792355" y="1530000"/>
            <a:ext cx="392493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" name="Google Shape;91;p3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5490">
          <p15:clr>
            <a:srgbClr val="FBAE40"/>
          </p15:clr>
        </p15:guide>
        <p15:guide id="7" pos="5760">
          <p15:clr>
            <a:srgbClr val="FBAE40"/>
          </p15:clr>
        </p15:guide>
        <p15:guide id="8" pos="3018">
          <p15:clr>
            <a:srgbClr val="FBAE40"/>
          </p15:clr>
        </p15:guide>
        <p15:guide id="9" pos="274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stimonial">
  <p:cSld name="Testimonial"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38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94" name="Google Shape;94;p3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" name="Google Shape;95;p38"/>
          <p:cNvSpPr txBox="1">
            <a:spLocks noGrp="1"/>
          </p:cNvSpPr>
          <p:nvPr>
            <p:ph type="body" idx="1"/>
          </p:nvPr>
        </p:nvSpPr>
        <p:spPr>
          <a:xfrm>
            <a:off x="6529187" y="1528763"/>
            <a:ext cx="5232602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" name="Google Shape;96;p38"/>
          <p:cNvSpPr txBox="1">
            <a:spLocks noGrp="1"/>
          </p:cNvSpPr>
          <p:nvPr>
            <p:ph type="body" idx="3"/>
          </p:nvPr>
        </p:nvSpPr>
        <p:spPr>
          <a:xfrm>
            <a:off x="864001" y="4365382"/>
            <a:ext cx="4798800" cy="2062406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288000" tIns="288000" rIns="288000" bIns="288000" anchor="b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" name="Google Shape;97;p38"/>
          <p:cNvSpPr txBox="1">
            <a:spLocks noGrp="1"/>
          </p:cNvSpPr>
          <p:nvPr>
            <p:ph type="body" idx="4"/>
          </p:nvPr>
        </p:nvSpPr>
        <p:spPr>
          <a:xfrm>
            <a:off x="864001" y="4238556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" name="Google Shape;98;p38"/>
          <p:cNvSpPr txBox="1">
            <a:spLocks noGrp="1"/>
          </p:cNvSpPr>
          <p:nvPr>
            <p:ph type="body" idx="5"/>
          </p:nvPr>
        </p:nvSpPr>
        <p:spPr>
          <a:xfrm rot="10800000">
            <a:off x="5374801" y="6292522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963">
          <p15:clr>
            <a:srgbClr val="FBAE40"/>
          </p15:clr>
        </p15:guide>
        <p15:guide id="3" pos="270">
          <p15:clr>
            <a:srgbClr val="FBAE40"/>
          </p15:clr>
        </p15:guide>
        <p15:guide id="4" orient="horz" pos="692">
          <p15:clr>
            <a:srgbClr val="FBAE40"/>
          </p15:clr>
        </p15:guide>
        <p15:guide id="5" orient="horz" pos="4049">
          <p15:clr>
            <a:srgbClr val="FBAE40"/>
          </p15:clr>
        </p15:guide>
        <p15:guide id="6" pos="7409">
          <p15:clr>
            <a:srgbClr val="FBAE40"/>
          </p15:clr>
        </p15:guide>
        <p15:guide id="7" pos="411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text with image banner">
  <p:cSld name="Title &amp; text with image banner"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39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1944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01" name="Google Shape;101;p39"/>
          <p:cNvSpPr txBox="1">
            <a:spLocks noGrp="1"/>
          </p:cNvSpPr>
          <p:nvPr>
            <p:ph type="body" idx="1"/>
          </p:nvPr>
        </p:nvSpPr>
        <p:spPr>
          <a:xfrm>
            <a:off x="431999" y="3475239"/>
            <a:ext cx="11329789" cy="29525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" name="Google Shape;102;p3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16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218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ood slide / full-screen">
  <p:cSld name="Mood slide / full-screen"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Google Shape;104;p40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05" name="Google Shape;105;p40"/>
          <p:cNvSpPr txBox="1">
            <a:spLocks noGrp="1"/>
          </p:cNvSpPr>
          <p:nvPr>
            <p:ph type="body" idx="1"/>
          </p:nvPr>
        </p:nvSpPr>
        <p:spPr>
          <a:xfrm>
            <a:off x="432000" y="1098000"/>
            <a:ext cx="8640000" cy="1487991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432000" tIns="432000" rIns="432000" bIns="43200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" name="Google Shape;106;p40"/>
          <p:cNvSpPr txBox="1">
            <a:spLocks noGrp="1"/>
          </p:cNvSpPr>
          <p:nvPr>
            <p:ph type="body" idx="3"/>
          </p:nvPr>
        </p:nvSpPr>
        <p:spPr>
          <a:xfrm>
            <a:off x="10841432" y="172618"/>
            <a:ext cx="1350568" cy="684364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5715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2x">
  <p:cSld name="Participant 2x"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p41"/>
          <p:cNvSpPr txBox="1">
            <a:spLocks noGrp="1"/>
          </p:cNvSpPr>
          <p:nvPr>
            <p:ph type="body" idx="1"/>
          </p:nvPr>
        </p:nvSpPr>
        <p:spPr>
          <a:xfrm>
            <a:off x="326136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" name="Google Shape;109;p41"/>
          <p:cNvSpPr txBox="1">
            <a:spLocks noGrp="1"/>
          </p:cNvSpPr>
          <p:nvPr>
            <p:ph type="body" idx="2"/>
          </p:nvPr>
        </p:nvSpPr>
        <p:spPr>
          <a:xfrm>
            <a:off x="632298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" name="Google Shape;110;p41"/>
          <p:cNvSpPr txBox="1">
            <a:spLocks noGrp="1"/>
          </p:cNvSpPr>
          <p:nvPr>
            <p:ph type="body" idx="3"/>
          </p:nvPr>
        </p:nvSpPr>
        <p:spPr>
          <a:xfrm>
            <a:off x="326136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" name="Google Shape;111;p41"/>
          <p:cNvSpPr txBox="1">
            <a:spLocks noGrp="1"/>
          </p:cNvSpPr>
          <p:nvPr>
            <p:ph type="body" idx="4"/>
          </p:nvPr>
        </p:nvSpPr>
        <p:spPr>
          <a:xfrm>
            <a:off x="632298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" name="Google Shape;112;p41"/>
          <p:cNvSpPr>
            <a:spLocks noGrp="1"/>
          </p:cNvSpPr>
          <p:nvPr>
            <p:ph type="pic" idx="5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3" name="Google Shape;113;p41"/>
          <p:cNvSpPr>
            <a:spLocks noGrp="1"/>
          </p:cNvSpPr>
          <p:nvPr>
            <p:ph type="pic" idx="6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4" name="Google Shape;114;p4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3x">
  <p:cSld name="Participant 3x"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Google Shape;116;p42"/>
          <p:cNvSpPr>
            <a:spLocks noGrp="1"/>
          </p:cNvSpPr>
          <p:nvPr>
            <p:ph type="pic" idx="2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7" name="Google Shape;117;p42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" name="Google Shape;118;p42"/>
          <p:cNvSpPr txBox="1">
            <a:spLocks noGrp="1"/>
          </p:cNvSpPr>
          <p:nvPr>
            <p:ph type="body" idx="3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" name="Google Shape;119;p42"/>
          <p:cNvSpPr txBox="1">
            <a:spLocks noGrp="1"/>
          </p:cNvSpPr>
          <p:nvPr>
            <p:ph type="body" idx="4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" name="Google Shape;120;p42"/>
          <p:cNvSpPr txBox="1">
            <a:spLocks noGrp="1"/>
          </p:cNvSpPr>
          <p:nvPr>
            <p:ph type="body" idx="5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1" name="Google Shape;121;p42"/>
          <p:cNvSpPr>
            <a:spLocks noGrp="1"/>
          </p:cNvSpPr>
          <p:nvPr>
            <p:ph type="pic" idx="6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2" name="Google Shape;122;p42"/>
          <p:cNvSpPr>
            <a:spLocks noGrp="1"/>
          </p:cNvSpPr>
          <p:nvPr>
            <p:ph type="pic" idx="7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3" name="Google Shape;123;p42"/>
          <p:cNvSpPr txBox="1">
            <a:spLocks noGrp="1"/>
          </p:cNvSpPr>
          <p:nvPr>
            <p:ph type="body" idx="8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" name="Google Shape;124;p42"/>
          <p:cNvSpPr txBox="1">
            <a:spLocks noGrp="1"/>
          </p:cNvSpPr>
          <p:nvPr>
            <p:ph type="body" idx="9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5" name="Google Shape;125;p4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4x">
  <p:cSld name="Participant 4x">
    <p:spTree>
      <p:nvGrpSpPr>
        <p:cNvPr id="1" name="Shape 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Google Shape;127;p43"/>
          <p:cNvSpPr>
            <a:spLocks noGrp="1"/>
          </p:cNvSpPr>
          <p:nvPr>
            <p:ph type="pic" idx="2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8" name="Google Shape;128;p43"/>
          <p:cNvSpPr>
            <a:spLocks noGrp="1"/>
          </p:cNvSpPr>
          <p:nvPr>
            <p:ph type="pic" idx="3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9" name="Google Shape;129;p43"/>
          <p:cNvSpPr>
            <a:spLocks noGrp="1"/>
          </p:cNvSpPr>
          <p:nvPr>
            <p:ph type="pic" idx="4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0" name="Google Shape;130;p43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1" name="Google Shape;131;p43"/>
          <p:cNvSpPr txBox="1">
            <a:spLocks noGrp="1"/>
          </p:cNvSpPr>
          <p:nvPr>
            <p:ph type="body" idx="5"/>
          </p:nvPr>
        </p:nvSpPr>
        <p:spPr>
          <a:xfrm>
            <a:off x="335822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2" name="Google Shape;132;p43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3" name="Google Shape;133;p43"/>
          <p:cNvSpPr txBox="1">
            <a:spLocks noGrp="1"/>
          </p:cNvSpPr>
          <p:nvPr>
            <p:ph type="body" idx="7"/>
          </p:nvPr>
        </p:nvSpPr>
        <p:spPr>
          <a:xfrm>
            <a:off x="335822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" name="Google Shape;134;p43"/>
          <p:cNvSpPr txBox="1">
            <a:spLocks noGrp="1"/>
          </p:cNvSpPr>
          <p:nvPr>
            <p:ph type="body" idx="8"/>
          </p:nvPr>
        </p:nvSpPr>
        <p:spPr>
          <a:xfrm>
            <a:off x="6250847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5" name="Google Shape;135;p43"/>
          <p:cNvSpPr txBox="1">
            <a:spLocks noGrp="1"/>
          </p:cNvSpPr>
          <p:nvPr>
            <p:ph type="body" idx="9"/>
          </p:nvPr>
        </p:nvSpPr>
        <p:spPr>
          <a:xfrm>
            <a:off x="6250847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" name="Google Shape;136;p43"/>
          <p:cNvSpPr>
            <a:spLocks noGrp="1"/>
          </p:cNvSpPr>
          <p:nvPr>
            <p:ph type="pic" idx="13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7" name="Google Shape;137;p43"/>
          <p:cNvSpPr txBox="1">
            <a:spLocks noGrp="1"/>
          </p:cNvSpPr>
          <p:nvPr>
            <p:ph type="body" idx="14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" name="Google Shape;138;p43"/>
          <p:cNvSpPr txBox="1">
            <a:spLocks noGrp="1"/>
          </p:cNvSpPr>
          <p:nvPr>
            <p:ph type="body" idx="15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9" name="Google Shape;139;p4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5x">
  <p:cSld name="Participant 5x"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Google Shape;141;p44"/>
          <p:cNvSpPr>
            <a:spLocks noGrp="1"/>
          </p:cNvSpPr>
          <p:nvPr>
            <p:ph type="pic" idx="2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2" name="Google Shape;142;p44"/>
          <p:cNvSpPr>
            <a:spLocks noGrp="1"/>
          </p:cNvSpPr>
          <p:nvPr>
            <p:ph type="pic" idx="3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3" name="Google Shape;143;p44"/>
          <p:cNvSpPr>
            <a:spLocks noGrp="1"/>
          </p:cNvSpPr>
          <p:nvPr>
            <p:ph type="pic" idx="4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4" name="Google Shape;144;p44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5" name="Google Shape;145;p44"/>
          <p:cNvSpPr txBox="1">
            <a:spLocks noGrp="1"/>
          </p:cNvSpPr>
          <p:nvPr>
            <p:ph type="body" idx="5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6" name="Google Shape;146;p44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7" name="Google Shape;147;p44"/>
          <p:cNvSpPr txBox="1">
            <a:spLocks noGrp="1"/>
          </p:cNvSpPr>
          <p:nvPr>
            <p:ph type="body" idx="7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8" name="Google Shape;148;p44"/>
          <p:cNvSpPr>
            <a:spLocks noGrp="1"/>
          </p:cNvSpPr>
          <p:nvPr>
            <p:ph type="pic" idx="8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9" name="Google Shape;149;p44"/>
          <p:cNvSpPr>
            <a:spLocks noGrp="1"/>
          </p:cNvSpPr>
          <p:nvPr>
            <p:ph type="pic" idx="9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50" name="Google Shape;150;p44"/>
          <p:cNvSpPr txBox="1">
            <a:spLocks noGrp="1"/>
          </p:cNvSpPr>
          <p:nvPr>
            <p:ph type="body" idx="13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1" name="Google Shape;151;p44"/>
          <p:cNvSpPr txBox="1">
            <a:spLocks noGrp="1"/>
          </p:cNvSpPr>
          <p:nvPr>
            <p:ph type="body" idx="14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2" name="Google Shape;152;p44"/>
          <p:cNvSpPr txBox="1">
            <a:spLocks noGrp="1"/>
          </p:cNvSpPr>
          <p:nvPr>
            <p:ph type="body" idx="15"/>
          </p:nvPr>
        </p:nvSpPr>
        <p:spPr>
          <a:xfrm>
            <a:off x="26532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3" name="Google Shape;153;p44"/>
          <p:cNvSpPr txBox="1">
            <a:spLocks noGrp="1"/>
          </p:cNvSpPr>
          <p:nvPr>
            <p:ph type="body" idx="16"/>
          </p:nvPr>
        </p:nvSpPr>
        <p:spPr>
          <a:xfrm>
            <a:off x="26532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" name="Google Shape;154;p44"/>
          <p:cNvSpPr txBox="1">
            <a:spLocks noGrp="1"/>
          </p:cNvSpPr>
          <p:nvPr>
            <p:ph type="body" idx="17"/>
          </p:nvPr>
        </p:nvSpPr>
        <p:spPr>
          <a:xfrm>
            <a:off x="69545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" name="Google Shape;155;p44"/>
          <p:cNvSpPr txBox="1">
            <a:spLocks noGrp="1"/>
          </p:cNvSpPr>
          <p:nvPr>
            <p:ph type="body" idx="18"/>
          </p:nvPr>
        </p:nvSpPr>
        <p:spPr>
          <a:xfrm>
            <a:off x="69545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6" name="Google Shape;156;p4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>
  <p:cSld name="Agenda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25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28" name="Google Shape;28;p25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77190" algn="l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ts val="2340"/>
              <a:buFont typeface="Arial"/>
              <a:buAutoNum type="arabicPeriod"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" name="Google Shape;29;p2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92">
          <p15:clr>
            <a:srgbClr val="FBAE40"/>
          </p15:clr>
        </p15:guide>
        <p15:guide id="2" pos="270">
          <p15:clr>
            <a:srgbClr val="FBAE40"/>
          </p15:clr>
        </p15:guide>
        <p15:guide id="3" pos="3839">
          <p15:clr>
            <a:srgbClr val="FBAE40"/>
          </p15:clr>
        </p15:guide>
        <p15:guide id="4" orient="horz" pos="4047">
          <p15:clr>
            <a:srgbClr val="FBAE40"/>
          </p15:clr>
        </p15:guide>
        <p15:guide id="5" orient="horz" pos="963">
          <p15:clr>
            <a:srgbClr val="FBAE40"/>
          </p15:clr>
        </p15:guide>
        <p15:guide id="6" pos="3567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1)">
  <p:cSld name="Contact slide (1)"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8" name="Google Shape;158;p45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59" name="Google Shape;159;p45"/>
          <p:cNvSpPr txBox="1">
            <a:spLocks noGrp="1"/>
          </p:cNvSpPr>
          <p:nvPr>
            <p:ph type="body" idx="1"/>
          </p:nvPr>
        </p:nvSpPr>
        <p:spPr>
          <a:xfrm>
            <a:off x="3455998" y="2016000"/>
            <a:ext cx="5255944" cy="3018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" name="Google Shape;160;p45"/>
          <p:cNvSpPr txBox="1">
            <a:spLocks noGrp="1"/>
          </p:cNvSpPr>
          <p:nvPr>
            <p:ph type="body" idx="3"/>
          </p:nvPr>
        </p:nvSpPr>
        <p:spPr>
          <a:xfrm>
            <a:off x="3455998" y="1520825"/>
            <a:ext cx="525594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1" name="Google Shape;161;p45"/>
          <p:cNvSpPr>
            <a:spLocks noGrp="1"/>
          </p:cNvSpPr>
          <p:nvPr>
            <p:ph type="pic" idx="4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62" name="Google Shape;162;p45"/>
          <p:cNvSpPr txBox="1">
            <a:spLocks noGrp="1"/>
          </p:cNvSpPr>
          <p:nvPr>
            <p:ph type="body" idx="5"/>
          </p:nvPr>
        </p:nvSpPr>
        <p:spPr>
          <a:xfrm>
            <a:off x="3455998" y="2847527"/>
            <a:ext cx="5255944" cy="1139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" name="Google Shape;163;p45"/>
          <p:cNvSpPr txBox="1">
            <a:spLocks noGrp="1"/>
          </p:cNvSpPr>
          <p:nvPr>
            <p:ph type="body" idx="6"/>
          </p:nvPr>
        </p:nvSpPr>
        <p:spPr>
          <a:xfrm>
            <a:off x="3455998" y="4535936"/>
            <a:ext cx="5255944" cy="18918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4" name="Google Shape;164;p4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2)">
  <p:cSld name="Contact slide (2)">
    <p:spTree>
      <p:nvGrpSpPr>
        <p:cNvPr id="1" name="Shape 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6" name="Google Shape;166;p46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67" name="Google Shape;167;p46"/>
          <p:cNvSpPr txBox="1">
            <a:spLocks noGrp="1"/>
          </p:cNvSpPr>
          <p:nvPr>
            <p:ph type="body" idx="1"/>
          </p:nvPr>
        </p:nvSpPr>
        <p:spPr>
          <a:xfrm>
            <a:off x="4344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" name="Google Shape;168;p46"/>
          <p:cNvSpPr txBox="1">
            <a:spLocks noGrp="1"/>
          </p:cNvSpPr>
          <p:nvPr>
            <p:ph type="body" idx="3"/>
          </p:nvPr>
        </p:nvSpPr>
        <p:spPr>
          <a:xfrm>
            <a:off x="47916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9" name="Google Shape;169;p46"/>
          <p:cNvSpPr txBox="1">
            <a:spLocks noGrp="1"/>
          </p:cNvSpPr>
          <p:nvPr>
            <p:ph type="body" idx="4"/>
          </p:nvPr>
        </p:nvSpPr>
        <p:spPr>
          <a:xfrm>
            <a:off x="4344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0" name="Google Shape;170;p46"/>
          <p:cNvSpPr txBox="1">
            <a:spLocks noGrp="1"/>
          </p:cNvSpPr>
          <p:nvPr>
            <p:ph type="body" idx="5"/>
          </p:nvPr>
        </p:nvSpPr>
        <p:spPr>
          <a:xfrm>
            <a:off x="432000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" name="Google Shape;171;p46"/>
          <p:cNvSpPr>
            <a:spLocks noGrp="1"/>
          </p:cNvSpPr>
          <p:nvPr>
            <p:ph type="pic" idx="6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72" name="Google Shape;172;p46"/>
          <p:cNvSpPr>
            <a:spLocks noGrp="1"/>
          </p:cNvSpPr>
          <p:nvPr>
            <p:ph type="pic" idx="7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73" name="Google Shape;173;p46"/>
          <p:cNvSpPr txBox="1">
            <a:spLocks noGrp="1"/>
          </p:cNvSpPr>
          <p:nvPr>
            <p:ph type="body" idx="8"/>
          </p:nvPr>
        </p:nvSpPr>
        <p:spPr>
          <a:xfrm>
            <a:off x="47916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4" name="Google Shape;174;p46"/>
          <p:cNvSpPr txBox="1">
            <a:spLocks noGrp="1"/>
          </p:cNvSpPr>
          <p:nvPr>
            <p:ph type="body" idx="9"/>
          </p:nvPr>
        </p:nvSpPr>
        <p:spPr>
          <a:xfrm>
            <a:off x="4791658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5" name="Google Shape;175;p4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3)">
  <p:cSld name="Contact slide (3)">
    <p:spTree>
      <p:nvGrpSpPr>
        <p:cNvPr id="1" name="Shape 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Google Shape;177;p47"/>
          <p:cNvSpPr txBox="1">
            <a:spLocks noGrp="1"/>
          </p:cNvSpPr>
          <p:nvPr>
            <p:ph type="body" idx="1"/>
          </p:nvPr>
        </p:nvSpPr>
        <p:spPr>
          <a:xfrm>
            <a:off x="43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8" name="Google Shape;178;p47"/>
          <p:cNvSpPr txBox="1">
            <a:spLocks noGrp="1"/>
          </p:cNvSpPr>
          <p:nvPr>
            <p:ph type="body" idx="2"/>
          </p:nvPr>
        </p:nvSpPr>
        <p:spPr>
          <a:xfrm>
            <a:off x="435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" name="Google Shape;179;p47"/>
          <p:cNvSpPr txBox="1">
            <a:spLocks noGrp="1"/>
          </p:cNvSpPr>
          <p:nvPr>
            <p:ph type="body" idx="3"/>
          </p:nvPr>
        </p:nvSpPr>
        <p:spPr>
          <a:xfrm>
            <a:off x="431999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0" name="Google Shape;180;p47"/>
          <p:cNvSpPr txBox="1">
            <a:spLocks noGrp="1"/>
          </p:cNvSpPr>
          <p:nvPr>
            <p:ph type="body" idx="4"/>
          </p:nvPr>
        </p:nvSpPr>
        <p:spPr>
          <a:xfrm>
            <a:off x="431999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" name="Google Shape;181;p47"/>
          <p:cNvSpPr>
            <a:spLocks noGrp="1"/>
          </p:cNvSpPr>
          <p:nvPr>
            <p:ph type="pic" idx="5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2" name="Google Shape;182;p47"/>
          <p:cNvSpPr>
            <a:spLocks noGrp="1"/>
          </p:cNvSpPr>
          <p:nvPr>
            <p:ph type="pic" idx="6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3" name="Google Shape;183;p47"/>
          <p:cNvSpPr txBox="1">
            <a:spLocks noGrp="1"/>
          </p:cNvSpPr>
          <p:nvPr>
            <p:ph type="body" idx="7"/>
          </p:nvPr>
        </p:nvSpPr>
        <p:spPr>
          <a:xfrm>
            <a:off x="4356100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4" name="Google Shape;184;p47"/>
          <p:cNvSpPr txBox="1">
            <a:spLocks noGrp="1"/>
          </p:cNvSpPr>
          <p:nvPr>
            <p:ph type="body" idx="8"/>
          </p:nvPr>
        </p:nvSpPr>
        <p:spPr>
          <a:xfrm>
            <a:off x="4356100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5" name="Google Shape;185;p47"/>
          <p:cNvSpPr txBox="1">
            <a:spLocks noGrp="1"/>
          </p:cNvSpPr>
          <p:nvPr>
            <p:ph type="body" idx="9"/>
          </p:nvPr>
        </p:nvSpPr>
        <p:spPr>
          <a:xfrm>
            <a:off x="8278813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6" name="Google Shape;186;p47"/>
          <p:cNvSpPr>
            <a:spLocks noGrp="1"/>
          </p:cNvSpPr>
          <p:nvPr>
            <p:ph type="pic" idx="13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7" name="Google Shape;187;p47"/>
          <p:cNvSpPr txBox="1">
            <a:spLocks noGrp="1"/>
          </p:cNvSpPr>
          <p:nvPr>
            <p:ph type="body" idx="14"/>
          </p:nvPr>
        </p:nvSpPr>
        <p:spPr>
          <a:xfrm>
            <a:off x="8278813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" name="Google Shape;188;p47"/>
          <p:cNvSpPr txBox="1">
            <a:spLocks noGrp="1"/>
          </p:cNvSpPr>
          <p:nvPr>
            <p:ph type="body" idx="15"/>
          </p:nvPr>
        </p:nvSpPr>
        <p:spPr>
          <a:xfrm>
            <a:off x="8278813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9" name="Google Shape;189;p4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09327790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>
          <p15:clr>
            <a:srgbClr val="FBAE40"/>
          </p15:clr>
        </p15:guide>
        <p15:guide id="18" pos="270">
          <p15:clr>
            <a:srgbClr val="FBAE40"/>
          </p15:clr>
        </p15:guide>
        <p15:guide id="19" orient="horz" pos="692">
          <p15:clr>
            <a:srgbClr val="FBAE40"/>
          </p15:clr>
        </p15:guide>
        <p15:guide id="20" orient="horz" pos="4049">
          <p15:clr>
            <a:srgbClr val="FBAE40"/>
          </p15:clr>
        </p15:guide>
        <p15:guide id="21" orient="horz" pos="1359">
          <p15:clr>
            <a:srgbClr val="FBAE40"/>
          </p15:clr>
        </p15:guide>
        <p15:guide id="22" pos="3568">
          <p15:clr>
            <a:srgbClr val="FBAE40"/>
          </p15:clr>
        </p15:guide>
        <p15:guide id="23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44582512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>
          <p15:clr>
            <a:srgbClr val="FBAE40"/>
          </p15:clr>
        </p15:guide>
        <p15:guide id="7" pos="7409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3774950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>
          <p15:clr>
            <a:srgbClr val="FBAE40"/>
          </p15:clr>
        </p15:guide>
        <p15:guide id="7" pos="7409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285636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>
          <p15:clr>
            <a:srgbClr val="FBAE40"/>
          </p15:clr>
        </p15:guide>
        <p15:guide id="7" pos="7409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with image">
  <p:cSld name="Title with image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29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48" name="Google Shape;48;p2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45873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orient="horz" pos="69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3 texts">
  <p:cSld name="Title, subtitle &amp; 3 texts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26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" name="Google Shape;32;p26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" name="Google Shape;33;p2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" name="Google Shape;34;p26"/>
          <p:cNvSpPr txBox="1">
            <a:spLocks noGrp="1"/>
          </p:cNvSpPr>
          <p:nvPr>
            <p:ph type="body" idx="3"/>
          </p:nvPr>
        </p:nvSpPr>
        <p:spPr>
          <a:xfrm>
            <a:off x="435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" name="Google Shape;35;p26"/>
          <p:cNvSpPr txBox="1">
            <a:spLocks noGrp="1"/>
          </p:cNvSpPr>
          <p:nvPr>
            <p:ph type="body" idx="4"/>
          </p:nvPr>
        </p:nvSpPr>
        <p:spPr>
          <a:xfrm>
            <a:off x="43516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" name="Google Shape;36;p26"/>
          <p:cNvSpPr txBox="1">
            <a:spLocks noGrp="1"/>
          </p:cNvSpPr>
          <p:nvPr>
            <p:ph type="body" idx="5"/>
          </p:nvPr>
        </p:nvSpPr>
        <p:spPr>
          <a:xfrm>
            <a:off x="827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" name="Google Shape;37;p26"/>
          <p:cNvSpPr txBox="1">
            <a:spLocks noGrp="1"/>
          </p:cNvSpPr>
          <p:nvPr>
            <p:ph type="body" idx="6"/>
          </p:nvPr>
        </p:nvSpPr>
        <p:spPr>
          <a:xfrm>
            <a:off x="82720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2 image">
  <p:cSld name="Title, subtitle &amp; text with 1/2 image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27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40" name="Google Shape;40;p27"/>
          <p:cNvSpPr txBox="1">
            <a:spLocks noGrp="1"/>
          </p:cNvSpPr>
          <p:nvPr>
            <p:ph type="body" idx="1"/>
          </p:nvPr>
        </p:nvSpPr>
        <p:spPr>
          <a:xfrm>
            <a:off x="432000" y="2160001"/>
            <a:ext cx="5232200" cy="4267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" name="Google Shape;41;p27"/>
          <p:cNvSpPr txBox="1">
            <a:spLocks noGrp="1"/>
          </p:cNvSpPr>
          <p:nvPr>
            <p:ph type="body" idx="3"/>
          </p:nvPr>
        </p:nvSpPr>
        <p:spPr>
          <a:xfrm>
            <a:off x="432000" y="1530000"/>
            <a:ext cx="5232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" name="Google Shape;42;p2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3568">
          <p15:clr>
            <a:srgbClr val="FBAE40"/>
          </p15:clr>
        </p15:guide>
        <p15:guide id="7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">
  <p:cSld name="Title, subtitle &amp; text with 1/3 image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30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51" name="Google Shape;51;p30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" name="Google Shape;52;p30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" name="Google Shape;53;p3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">
  <p:cSld name="Title, subtitle &amp; text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31"/>
          <p:cNvSpPr txBox="1">
            <a:spLocks noGrp="1"/>
          </p:cNvSpPr>
          <p:nvPr>
            <p:ph type="body" idx="1"/>
          </p:nvPr>
        </p:nvSpPr>
        <p:spPr>
          <a:xfrm>
            <a:off x="431999" y="2160587"/>
            <a:ext cx="113292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" name="Google Shape;56;p31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11329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" name="Google Shape;57;p3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">
  <p:cSld name="Title, subtitle &amp; 2 texts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32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5447999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" name="Google Shape;60;p32"/>
          <p:cNvSpPr txBox="1">
            <a:spLocks noGrp="1"/>
          </p:cNvSpPr>
          <p:nvPr>
            <p:ph type="body" idx="2"/>
          </p:nvPr>
        </p:nvSpPr>
        <p:spPr>
          <a:xfrm>
            <a:off x="432000" y="1530000"/>
            <a:ext cx="5447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" name="Google Shape;61;p3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" name="Google Shape;62;p32"/>
          <p:cNvSpPr txBox="1">
            <a:spLocks noGrp="1"/>
          </p:cNvSpPr>
          <p:nvPr>
            <p:ph type="body" idx="3"/>
          </p:nvPr>
        </p:nvSpPr>
        <p:spPr>
          <a:xfrm>
            <a:off x="6312000" y="2160587"/>
            <a:ext cx="5449788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" name="Google Shape;63;p32"/>
          <p:cNvSpPr txBox="1">
            <a:spLocks noGrp="1"/>
          </p:cNvSpPr>
          <p:nvPr>
            <p:ph type="body" idx="4"/>
          </p:nvPr>
        </p:nvSpPr>
        <p:spPr>
          <a:xfrm>
            <a:off x="6312000" y="1530000"/>
            <a:ext cx="5449788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3974">
          <p15:clr>
            <a:srgbClr val="FBAE40"/>
          </p15:clr>
        </p15:guide>
        <p15:guide id="8" pos="3705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Title Slide"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p3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" name="Google Shape;66;p33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67" name="Google Shape;67;p33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8" name="Google Shape;68;p33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title slide">
  <p:cSld name="Chapter title slide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34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1" name="Google Shape;71;p34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2" name="Google Shape;72;p34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3" name="Google Shape;73;p34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22"/>
          <p:cNvSpPr txBox="1"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22"/>
          <p:cNvSpPr txBox="1">
            <a:spLocks noGrp="1"/>
          </p:cNvSpPr>
          <p:nvPr>
            <p:ph type="ftr" idx="11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Google Shape;13;p22"/>
          <p:cNvSpPr txBox="1">
            <a:spLocks noGrp="1"/>
          </p:cNvSpPr>
          <p:nvPr>
            <p:ph type="sldNum" idx="12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pic>
        <p:nvPicPr>
          <p:cNvPr id="14" name="Google Shape;14;p22"/>
          <p:cNvPicPr preferRelativeResize="0"/>
          <p:nvPr/>
        </p:nvPicPr>
        <p:blipFill rotWithShape="1">
          <a:blip r:embed="rId29">
            <a:alphaModFix/>
          </a:blip>
          <a:srcRect/>
          <a:stretch/>
        </p:blipFill>
        <p:spPr>
          <a:xfrm>
            <a:off x="11021614" y="352800"/>
            <a:ext cx="738385" cy="324000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2" r:id="rId3"/>
    <p:sldLayoutId id="2147483653" r:id="rId4"/>
    <p:sldLayoutId id="2147483656" r:id="rId5"/>
    <p:sldLayoutId id="2147483657" r:id="rId6"/>
    <p:sldLayoutId id="2147483658" r:id="rId7"/>
    <p:sldLayoutId id="2147483659" r:id="rId8"/>
    <p:sldLayoutId id="2147483660" r:id="rId9"/>
    <p:sldLayoutId id="2147483661" r:id="rId10"/>
    <p:sldLayoutId id="2147483662" r:id="rId11"/>
    <p:sldLayoutId id="2147483663" r:id="rId12"/>
    <p:sldLayoutId id="2147483664" r:id="rId13"/>
    <p:sldLayoutId id="2147483665" r:id="rId14"/>
    <p:sldLayoutId id="2147483666" r:id="rId15"/>
    <p:sldLayoutId id="2147483667" r:id="rId16"/>
    <p:sldLayoutId id="2147483668" r:id="rId17"/>
    <p:sldLayoutId id="2147483669" r:id="rId18"/>
    <p:sldLayoutId id="2147483670" r:id="rId19"/>
    <p:sldLayoutId id="2147483671" r:id="rId20"/>
    <p:sldLayoutId id="2147483672" r:id="rId21"/>
    <p:sldLayoutId id="2147483673" r:id="rId22"/>
    <p:sldLayoutId id="2147483674" r:id="rId23"/>
    <p:sldLayoutId id="2147483676" r:id="rId24"/>
    <p:sldLayoutId id="2147483677" r:id="rId25"/>
    <p:sldLayoutId id="2147483678" r:id="rId26"/>
    <p:sldLayoutId id="2147483679" r:id="rId27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25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2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31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3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38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4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4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47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49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52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55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0.png"/><Relationship Id="rId12" Type="http://schemas.openxmlformats.org/officeDocument/2006/relationships/image" Target="../media/image15.svg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5.xml"/><Relationship Id="rId6" Type="http://schemas.openxmlformats.org/officeDocument/2006/relationships/image" Target="../media/image9.jpg"/><Relationship Id="rId11" Type="http://schemas.openxmlformats.org/officeDocument/2006/relationships/image" Target="../media/image14.png"/><Relationship Id="rId5" Type="http://schemas.openxmlformats.org/officeDocument/2006/relationships/image" Target="../media/image7.emf"/><Relationship Id="rId10" Type="http://schemas.openxmlformats.org/officeDocument/2006/relationships/image" Target="../media/image13.svg"/><Relationship Id="rId4" Type="http://schemas.openxmlformats.org/officeDocument/2006/relationships/oleObject" Target="../embeddings/oleObject5.bin"/><Relationship Id="rId9" Type="http://schemas.openxmlformats.org/officeDocument/2006/relationships/image" Target="../media/image12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58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4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3" Type="http://schemas.openxmlformats.org/officeDocument/2006/relationships/image" Target="../media/image56.jpg"/><Relationship Id="rId7" Type="http://schemas.openxmlformats.org/officeDocument/2006/relationships/image" Target="../media/image6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6.png"/><Relationship Id="rId5" Type="http://schemas.openxmlformats.org/officeDocument/2006/relationships/image" Target="../media/image65.png"/><Relationship Id="rId10" Type="http://schemas.openxmlformats.org/officeDocument/2006/relationships/image" Target="../media/image70.png"/><Relationship Id="rId4" Type="http://schemas.openxmlformats.org/officeDocument/2006/relationships/hyperlink" Target="about:blank" TargetMode="External"/><Relationship Id="rId9" Type="http://schemas.openxmlformats.org/officeDocument/2006/relationships/image" Target="../media/image69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openxmlformats.org/officeDocument/2006/relationships/image" Target="../media/image56.jpg"/><Relationship Id="rId7" Type="http://schemas.openxmlformats.org/officeDocument/2006/relationships/image" Target="../media/image7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73.png"/><Relationship Id="rId5" Type="http://schemas.openxmlformats.org/officeDocument/2006/relationships/image" Target="../media/image72.png"/><Relationship Id="rId4" Type="http://schemas.openxmlformats.org/officeDocument/2006/relationships/image" Target="../media/image71.png"/><Relationship Id="rId9" Type="http://schemas.openxmlformats.org/officeDocument/2006/relationships/image" Target="../media/image76.png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9.png"/><Relationship Id="rId4" Type="http://schemas.openxmlformats.org/officeDocument/2006/relationships/image" Target="../media/image78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8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6.xml"/><Relationship Id="rId6" Type="http://schemas.openxmlformats.org/officeDocument/2006/relationships/image" Target="../media/image17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7.xml"/><Relationship Id="rId6" Type="http://schemas.openxmlformats.org/officeDocument/2006/relationships/image" Target="../media/image17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71F363-32AF-B48F-27B7-B0987EC809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597A2FB-417A-D54A-7DBE-9FCF6AE0AFC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98082" y="1098000"/>
            <a:ext cx="10966103" cy="1336856"/>
          </a:xfrm>
        </p:spPr>
        <p:txBody>
          <a:bodyPr/>
          <a:lstStyle/>
          <a:p>
            <a:pPr marL="669323" lvl="1" indent="-334662">
              <a:lnSpc>
                <a:spcPct val="100000"/>
              </a:lnSpc>
            </a:pPr>
            <a:r>
              <a:rPr lang="en-US" dirty="0"/>
              <a:t>Time: 2000 BC – 938 AD</a:t>
            </a:r>
          </a:p>
          <a:p>
            <a:pPr marL="669323" lvl="1" indent="-334662">
              <a:lnSpc>
                <a:spcPct val="100000"/>
              </a:lnSpc>
            </a:pPr>
            <a:r>
              <a:rPr lang="en-US" dirty="0"/>
              <a:t>Characteristics: The State of Van Lang and Au Lac → North belongs → uprising for independence.</a:t>
            </a:r>
            <a:endParaRPr lang="en-US" dirty="0">
              <a:solidFill>
                <a:srgbClr val="333333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FBC0868-294A-4241-8D86-F45A4B1AC0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10636494" cy="1098000"/>
          </a:xfrm>
        </p:spPr>
        <p:txBody>
          <a:bodyPr/>
          <a:lstStyle/>
          <a:p>
            <a:r>
              <a:rPr lang="en-US" dirty="0"/>
              <a:t>The first period of Founding and Struggling for Independenc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F7DDCFE-0927-244B-2532-C028EAF4D6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91385" y="3285460"/>
            <a:ext cx="4763386" cy="357254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7E53C8C-19F4-4AB9-9919-5C1C44A435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08605" y="3285460"/>
            <a:ext cx="4763386" cy="357254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04E59C8-2741-69EA-18F5-2A8F800A01D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71139" y="3285460"/>
            <a:ext cx="2738327" cy="36511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6722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877007-FD57-E7DD-5B12-6A734A50B3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379EF2-35B3-2DD4-CE12-289D21A20D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98082" y="1098000"/>
            <a:ext cx="8563145" cy="1336856"/>
          </a:xfrm>
        </p:spPr>
        <p:txBody>
          <a:bodyPr/>
          <a:lstStyle/>
          <a:p>
            <a:pPr marL="669323" lvl="1" indent="-334662">
              <a:lnSpc>
                <a:spcPct val="100000"/>
              </a:lnSpc>
            </a:pPr>
            <a:r>
              <a:rPr lang="en-US" dirty="0"/>
              <a:t>Time: 938 - 1009</a:t>
            </a:r>
            <a:br>
              <a:rPr lang="en-US" dirty="0"/>
            </a:br>
            <a:endParaRPr lang="en-US" dirty="0"/>
          </a:p>
          <a:p>
            <a:pPr marL="669323" lvl="1" indent="-334662">
              <a:lnSpc>
                <a:spcPct val="100000"/>
              </a:lnSpc>
            </a:pPr>
            <a:r>
              <a:rPr lang="en-US" dirty="0"/>
              <a:t>Characteristics: Ending the North belongs to, establishing independence.</a:t>
            </a:r>
            <a:endParaRPr lang="en-US" dirty="0">
              <a:solidFill>
                <a:srgbClr val="333333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DA391ED-3946-6005-0287-8FBB0CAC95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go - Dinh - Early Le dynasties</a:t>
            </a:r>
          </a:p>
        </p:txBody>
      </p:sp>
    </p:spTree>
    <p:extLst>
      <p:ext uri="{BB962C8B-B14F-4D97-AF65-F5344CB8AC3E}">
        <p14:creationId xmlns:p14="http://schemas.microsoft.com/office/powerpoint/2010/main" val="3635092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BE1C5B-35C2-F63A-2C59-E4B618F526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00EB0D0-DDF2-EA7E-1A16-FB613A9556E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98083" y="1098000"/>
            <a:ext cx="7627480" cy="1336856"/>
          </a:xfrm>
        </p:spPr>
        <p:txBody>
          <a:bodyPr/>
          <a:lstStyle/>
          <a:p>
            <a:pPr marL="669323" lvl="1" indent="-334662">
              <a:lnSpc>
                <a:spcPct val="100000"/>
              </a:lnSpc>
            </a:pPr>
            <a:r>
              <a:rPr lang="en-US" dirty="0"/>
              <a:t>Time: 1009 - 1225</a:t>
            </a:r>
          </a:p>
          <a:p>
            <a:pPr marL="669323" lvl="1" indent="-334662">
              <a:lnSpc>
                <a:spcPct val="100000"/>
              </a:lnSpc>
            </a:pPr>
            <a:r>
              <a:rPr lang="en-US" dirty="0"/>
              <a:t>Characteristics: Thang Long capital, Buddhist culture developed.</a:t>
            </a:r>
            <a:endParaRPr lang="en-US" dirty="0">
              <a:solidFill>
                <a:srgbClr val="333333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6CA018A-FE4D-82E1-30FB-D51D225102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y dynasty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7F99847-6441-79C7-6B16-DC5CCC01C50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9348"/>
          <a:stretch>
            <a:fillRect/>
          </a:stretch>
        </p:blipFill>
        <p:spPr>
          <a:xfrm>
            <a:off x="0" y="3532854"/>
            <a:ext cx="4019107" cy="332514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0D6880C-53AD-CA3D-6D34-9A9725493B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53532" y="3532856"/>
            <a:ext cx="2493858" cy="332514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2F87D74-FA59-42F4-C476-42F440D5AC1A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6808" b="23631"/>
          <a:stretch>
            <a:fillRect/>
          </a:stretch>
        </p:blipFill>
        <p:spPr>
          <a:xfrm>
            <a:off x="6781816" y="3532856"/>
            <a:ext cx="5410184" cy="3325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0484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FE876D-1EC2-7E45-D075-0799B1D243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79B54ED-FE41-0EB3-CCAB-CC3A2E12CF7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98083" y="1098000"/>
            <a:ext cx="9720000" cy="1336856"/>
          </a:xfrm>
        </p:spPr>
        <p:txBody>
          <a:bodyPr/>
          <a:lstStyle/>
          <a:p>
            <a:pPr marL="669323" lvl="1" indent="-334662">
              <a:lnSpc>
                <a:spcPct val="100000"/>
              </a:lnSpc>
            </a:pPr>
            <a:r>
              <a:rPr lang="en-US" dirty="0"/>
              <a:t>Time: 1225 – 1407</a:t>
            </a:r>
          </a:p>
          <a:p>
            <a:pPr marL="669323" lvl="1" indent="-334662">
              <a:lnSpc>
                <a:spcPct val="100000"/>
              </a:lnSpc>
            </a:pPr>
            <a:r>
              <a:rPr lang="en-US" dirty="0"/>
              <a:t>Characteristics: resistance against Nguyen </a:t>
            </a:r>
            <a:r>
              <a:rPr lang="en-US" dirty="0" err="1"/>
              <a:t>Mong</a:t>
            </a:r>
            <a:r>
              <a:rPr lang="en-US" dirty="0"/>
              <a:t>, economic and cultural development.</a:t>
            </a:r>
            <a:endParaRPr lang="en-US" dirty="0">
              <a:solidFill>
                <a:srgbClr val="333333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6C98ECF-F098-FC3A-857F-19F64C87A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 - Ho dynasti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A4DC0E8-3235-A887-036D-0A32310FFE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3317358"/>
            <a:ext cx="4720856" cy="354064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4E29D18-DAFC-28C6-4CFD-A350D0B4DF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38380" y="3320312"/>
            <a:ext cx="2653266" cy="353768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42C0F92-ADC0-9788-8C19-3025B4BA677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91571" y="3317358"/>
            <a:ext cx="4720856" cy="35406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5791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90414F-F39A-B815-5B6A-D1636FCA52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2D46F4E-61AF-C32E-D74A-E3B06AF41B4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98082" y="1098000"/>
            <a:ext cx="8254801" cy="1336856"/>
          </a:xfrm>
        </p:spPr>
        <p:txBody>
          <a:bodyPr/>
          <a:lstStyle/>
          <a:p>
            <a:pPr marL="669323" lvl="1" indent="-334662">
              <a:lnSpc>
                <a:spcPct val="100000"/>
              </a:lnSpc>
            </a:pPr>
            <a:r>
              <a:rPr lang="en-US" dirty="0"/>
              <a:t>Time: 1428 – 1788</a:t>
            </a:r>
          </a:p>
          <a:p>
            <a:pPr marL="669323" lvl="1" indent="-334662">
              <a:lnSpc>
                <a:spcPct val="100000"/>
              </a:lnSpc>
            </a:pPr>
            <a:r>
              <a:rPr lang="en-US" dirty="0"/>
              <a:t>Characteristics: Le dynasty develop, Trinh – Nguyen struggle.</a:t>
            </a:r>
            <a:endParaRPr lang="en-US" dirty="0">
              <a:solidFill>
                <a:srgbClr val="333333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D8016CE-D998-A2DC-ACDA-EB394047E2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Posterior</a:t>
            </a:r>
            <a:r>
              <a:rPr lang="fr-FR" dirty="0"/>
              <a:t> Le - Mac, Trinh - Nguyen Lords dynasties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DED0813-6922-E2FD-939C-576A121BCB9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0000" y="3429000"/>
            <a:ext cx="4572000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0587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F8170A-A2CE-4321-1F83-7FDF749213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0622741-8E5F-CC40-8625-8E1A796785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98083" y="1098000"/>
            <a:ext cx="8701368" cy="1336856"/>
          </a:xfrm>
        </p:spPr>
        <p:txBody>
          <a:bodyPr/>
          <a:lstStyle/>
          <a:p>
            <a:pPr marL="669323" lvl="1" indent="-334662">
              <a:lnSpc>
                <a:spcPct val="100000"/>
              </a:lnSpc>
            </a:pPr>
            <a:r>
              <a:rPr lang="en-US" dirty="0"/>
              <a:t>Time: 1778 – 1802</a:t>
            </a:r>
          </a:p>
          <a:p>
            <a:pPr marL="669323" lvl="1" indent="-334662">
              <a:lnSpc>
                <a:spcPct val="100000"/>
              </a:lnSpc>
            </a:pPr>
            <a:r>
              <a:rPr lang="en-US" dirty="0"/>
              <a:t>Characteristics: Farmers uprising, Quang Trung Dai destroyed the Qing army.</a:t>
            </a:r>
            <a:endParaRPr lang="en-US" dirty="0">
              <a:solidFill>
                <a:srgbClr val="333333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4066FF9-2CD6-6862-981E-D9BB4C1F09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y Son dynasty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C60A9FB-8D2E-D73E-E78B-CD0F104A02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569588"/>
            <a:ext cx="4384550" cy="328841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D08446D-8D27-5994-3D44-372EDD340B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64911" y="3569588"/>
            <a:ext cx="4384549" cy="328841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890599B-D91A-1788-DFE0-78C7DA23EB6A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t="3939" r="33992" b="3939"/>
          <a:stretch>
            <a:fillRect/>
          </a:stretch>
        </p:blipFill>
        <p:spPr>
          <a:xfrm>
            <a:off x="9050394" y="3569588"/>
            <a:ext cx="3141606" cy="3288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7938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52BA09-8B49-D832-7BCA-0F70221837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DE1BB08-C039-BF04-0055-D71691A3072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98082" y="1098000"/>
            <a:ext cx="7074587" cy="1336856"/>
          </a:xfrm>
        </p:spPr>
        <p:txBody>
          <a:bodyPr/>
          <a:lstStyle/>
          <a:p>
            <a:pPr marL="620411" lvl="1" indent="-285750">
              <a:lnSpc>
                <a:spcPct val="100000"/>
              </a:lnSpc>
            </a:pPr>
            <a:r>
              <a:rPr lang="en-US" dirty="0"/>
              <a:t>Time: 1802 - 1945</a:t>
            </a:r>
          </a:p>
          <a:p>
            <a:pPr marL="669323" lvl="1" indent="-334662">
              <a:lnSpc>
                <a:spcPct val="100000"/>
              </a:lnSpc>
            </a:pPr>
            <a:r>
              <a:rPr lang="en-US" dirty="0"/>
              <a:t>Characteristics: The last feudal dynasty, Western exchange.</a:t>
            </a:r>
            <a:endParaRPr lang="en-US" dirty="0">
              <a:solidFill>
                <a:srgbClr val="333333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AE31DFF-ADDC-D7D7-C80D-AE8B45CE4B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guyen dynasty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5A80162-414E-EBCB-39BF-6C455B0186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3532856"/>
            <a:ext cx="4433526" cy="332514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BA487AF-89C7-73DD-B30B-F5BE8F30E8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51990" y="3532856"/>
            <a:ext cx="4433525" cy="332514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B2887A2-927A-7F98-9839-2520B46793A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98142" y="3532856"/>
            <a:ext cx="2493858" cy="3325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0522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5C3436-4045-E787-5054-5B47EAC1E6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042C7B8-401A-E568-5DB1-84FDC4777E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342900" indent="-342900"/>
            <a:r>
              <a:rPr lang="en-US" noProof="1">
                <a:cs typeface="Segoe UI Semibold" panose="020B0702040204020203" pitchFamily="34" charset="0"/>
              </a:rPr>
              <a:t>Vietnamese c</a:t>
            </a:r>
            <a:r>
              <a:rPr lang="en-US" dirty="0" err="1"/>
              <a:t>ulture</a:t>
            </a:r>
            <a:r>
              <a:rPr lang="en-US" noProof="1">
                <a:cs typeface="Segoe UI Semibold" panose="020B0702040204020203" pitchFamily="34" charset="0"/>
              </a:rPr>
              <a:t> timeline</a:t>
            </a:r>
            <a:endParaRPr lang="en-US" noProof="1">
              <a:latin typeface="+mn-lt"/>
              <a:cs typeface="Segoe UI Semibold" panose="020B0702040204020203" pitchFamily="34" charset="0"/>
            </a:endParaRPr>
          </a:p>
        </p:txBody>
      </p:sp>
      <p:sp>
        <p:nvSpPr>
          <p:cNvPr id="68" name="Freeform: Shape 67">
            <a:extLst>
              <a:ext uri="{FF2B5EF4-FFF2-40B4-BE49-F238E27FC236}">
                <a16:creationId xmlns:a16="http://schemas.microsoft.com/office/drawing/2014/main" id="{1B53F6BD-3C69-A496-71E2-061BD5737672}"/>
              </a:ext>
            </a:extLst>
          </p:cNvPr>
          <p:cNvSpPr/>
          <p:nvPr/>
        </p:nvSpPr>
        <p:spPr>
          <a:xfrm>
            <a:off x="954825" y="3894882"/>
            <a:ext cx="10384338" cy="82647"/>
          </a:xfrm>
          <a:custGeom>
            <a:avLst/>
            <a:gdLst>
              <a:gd name="connsiteX0" fmla="*/ 11421014 w 11460220"/>
              <a:gd name="connsiteY0" fmla="*/ 0 h 89089"/>
              <a:gd name="connsiteX1" fmla="*/ 11460221 w 11460220"/>
              <a:gd name="connsiteY1" fmla="*/ 0 h 89089"/>
              <a:gd name="connsiteX2" fmla="*/ 11460221 w 11460220"/>
              <a:gd name="connsiteY2" fmla="*/ 89089 h 89089"/>
              <a:gd name="connsiteX3" fmla="*/ 11421014 w 11460220"/>
              <a:gd name="connsiteY3" fmla="*/ 89089 h 89089"/>
              <a:gd name="connsiteX4" fmla="*/ 39206 w 11460220"/>
              <a:gd name="connsiteY4" fmla="*/ 89089 h 89089"/>
              <a:gd name="connsiteX5" fmla="*/ 0 w 11460220"/>
              <a:gd name="connsiteY5" fmla="*/ 89089 h 89089"/>
              <a:gd name="connsiteX6" fmla="*/ 0 w 11460220"/>
              <a:gd name="connsiteY6" fmla="*/ 0 h 89089"/>
              <a:gd name="connsiteX7" fmla="*/ 39206 w 11460220"/>
              <a:gd name="connsiteY7" fmla="*/ 0 h 89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460220" h="89089">
                <a:moveTo>
                  <a:pt x="11421014" y="0"/>
                </a:moveTo>
                <a:cubicBezTo>
                  <a:pt x="11442667" y="0"/>
                  <a:pt x="11460221" y="0"/>
                  <a:pt x="11460221" y="0"/>
                </a:cubicBezTo>
                <a:lnTo>
                  <a:pt x="11460221" y="89089"/>
                </a:lnTo>
                <a:cubicBezTo>
                  <a:pt x="11460221" y="89089"/>
                  <a:pt x="11442668" y="89089"/>
                  <a:pt x="11421014" y="89089"/>
                </a:cubicBezTo>
                <a:lnTo>
                  <a:pt x="39206" y="89089"/>
                </a:lnTo>
                <a:cubicBezTo>
                  <a:pt x="17553" y="89089"/>
                  <a:pt x="0" y="89089"/>
                  <a:pt x="0" y="89089"/>
                </a:cubicBezTo>
                <a:lnTo>
                  <a:pt x="0" y="0"/>
                </a:lnTo>
                <a:cubicBezTo>
                  <a:pt x="0" y="0"/>
                  <a:pt x="17553" y="0"/>
                  <a:pt x="39206" y="0"/>
                </a:cubicBezTo>
                <a:close/>
              </a:path>
            </a:pathLst>
          </a:custGeom>
          <a:solidFill>
            <a:schemeClr val="tx1"/>
          </a:solidFill>
          <a:ln w="249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69" name="Freeform: Shape 68">
            <a:extLst>
              <a:ext uri="{FF2B5EF4-FFF2-40B4-BE49-F238E27FC236}">
                <a16:creationId xmlns:a16="http://schemas.microsoft.com/office/drawing/2014/main" id="{210E3100-E4E8-DB09-6FAC-DC155C44755F}"/>
              </a:ext>
            </a:extLst>
          </p:cNvPr>
          <p:cNvSpPr/>
          <p:nvPr/>
        </p:nvSpPr>
        <p:spPr>
          <a:xfrm rot="20818201">
            <a:off x="3932432" y="4295311"/>
            <a:ext cx="241475" cy="241475"/>
          </a:xfrm>
          <a:custGeom>
            <a:avLst/>
            <a:gdLst>
              <a:gd name="connsiteX0" fmla="*/ 221077 w 221135"/>
              <a:gd name="connsiteY0" fmla="*/ 110418 h 221135"/>
              <a:gd name="connsiteX1" fmla="*/ 110509 w 221135"/>
              <a:gd name="connsiteY1" fmla="*/ 220986 h 221135"/>
              <a:gd name="connsiteX2" fmla="*/ -58 w 221135"/>
              <a:gd name="connsiteY2" fmla="*/ 110418 h 221135"/>
              <a:gd name="connsiteX3" fmla="*/ 110509 w 221135"/>
              <a:gd name="connsiteY3" fmla="*/ -149 h 221135"/>
              <a:gd name="connsiteX4" fmla="*/ 221077 w 221135"/>
              <a:gd name="connsiteY4" fmla="*/ 110418 h 221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1135" h="221135">
                <a:moveTo>
                  <a:pt x="221077" y="110418"/>
                </a:moveTo>
                <a:cubicBezTo>
                  <a:pt x="221077" y="171483"/>
                  <a:pt x="171574" y="220986"/>
                  <a:pt x="110509" y="220986"/>
                </a:cubicBezTo>
                <a:cubicBezTo>
                  <a:pt x="49445" y="220986"/>
                  <a:pt x="-58" y="171483"/>
                  <a:pt x="-58" y="110418"/>
                </a:cubicBezTo>
                <a:cubicBezTo>
                  <a:pt x="-58" y="49354"/>
                  <a:pt x="49445" y="-149"/>
                  <a:pt x="110509" y="-149"/>
                </a:cubicBezTo>
                <a:cubicBezTo>
                  <a:pt x="171574" y="-149"/>
                  <a:pt x="221077" y="49354"/>
                  <a:pt x="221077" y="110418"/>
                </a:cubicBezTo>
                <a:close/>
              </a:path>
            </a:pathLst>
          </a:custGeom>
          <a:solidFill>
            <a:schemeClr val="bg2">
              <a:lumMod val="60000"/>
              <a:lumOff val="40000"/>
            </a:schemeClr>
          </a:solidFill>
          <a:ln w="249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>
              <a:solidFill>
                <a:srgbClr val="FF0000"/>
              </a:solidFill>
              <a:highlight>
                <a:srgbClr val="FFFF00"/>
              </a:highlight>
            </a:endParaRPr>
          </a:p>
        </p:txBody>
      </p:sp>
      <p:sp>
        <p:nvSpPr>
          <p:cNvPr id="70" name="Freeform: Shape 69">
            <a:extLst>
              <a:ext uri="{FF2B5EF4-FFF2-40B4-BE49-F238E27FC236}">
                <a16:creationId xmlns:a16="http://schemas.microsoft.com/office/drawing/2014/main" id="{C9EE3209-EDD1-9843-CCD8-1A47DBC7DC21}"/>
              </a:ext>
            </a:extLst>
          </p:cNvPr>
          <p:cNvSpPr/>
          <p:nvPr/>
        </p:nvSpPr>
        <p:spPr>
          <a:xfrm>
            <a:off x="4021313" y="4505301"/>
            <a:ext cx="63727" cy="493759"/>
          </a:xfrm>
          <a:custGeom>
            <a:avLst/>
            <a:gdLst>
              <a:gd name="connsiteX0" fmla="*/ 0 w 58359"/>
              <a:gd name="connsiteY0" fmla="*/ 0 h 452171"/>
              <a:gd name="connsiteX1" fmla="*/ 58359 w 58359"/>
              <a:gd name="connsiteY1" fmla="*/ 0 h 452171"/>
              <a:gd name="connsiteX2" fmla="*/ 58359 w 58359"/>
              <a:gd name="connsiteY2" fmla="*/ 452172 h 452171"/>
              <a:gd name="connsiteX3" fmla="*/ 0 w 58359"/>
              <a:gd name="connsiteY3" fmla="*/ 452172 h 4521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359" h="452171">
                <a:moveTo>
                  <a:pt x="0" y="0"/>
                </a:moveTo>
                <a:lnTo>
                  <a:pt x="58359" y="0"/>
                </a:lnTo>
                <a:lnTo>
                  <a:pt x="58359" y="452172"/>
                </a:lnTo>
                <a:lnTo>
                  <a:pt x="0" y="452172"/>
                </a:lnTo>
                <a:close/>
              </a:path>
            </a:pathLst>
          </a:custGeom>
          <a:solidFill>
            <a:schemeClr val="bg2">
              <a:lumMod val="60000"/>
              <a:lumOff val="40000"/>
            </a:schemeClr>
          </a:solidFill>
          <a:ln w="249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9" name="Freeform: Shape 88">
            <a:extLst>
              <a:ext uri="{FF2B5EF4-FFF2-40B4-BE49-F238E27FC236}">
                <a16:creationId xmlns:a16="http://schemas.microsoft.com/office/drawing/2014/main" id="{F6C7C3D3-7A4F-14CC-8FA4-D3F1B13339D4}"/>
              </a:ext>
            </a:extLst>
          </p:cNvPr>
          <p:cNvSpPr/>
          <p:nvPr/>
        </p:nvSpPr>
        <p:spPr>
          <a:xfrm rot="20818201">
            <a:off x="2440814" y="3243403"/>
            <a:ext cx="241474" cy="241474"/>
          </a:xfrm>
          <a:custGeom>
            <a:avLst/>
            <a:gdLst>
              <a:gd name="connsiteX0" fmla="*/ 221077 w 221135"/>
              <a:gd name="connsiteY0" fmla="*/ 110418 h 221135"/>
              <a:gd name="connsiteX1" fmla="*/ 110509 w 221135"/>
              <a:gd name="connsiteY1" fmla="*/ 220986 h 221135"/>
              <a:gd name="connsiteX2" fmla="*/ -58 w 221135"/>
              <a:gd name="connsiteY2" fmla="*/ 110418 h 221135"/>
              <a:gd name="connsiteX3" fmla="*/ 110509 w 221135"/>
              <a:gd name="connsiteY3" fmla="*/ -149 h 221135"/>
              <a:gd name="connsiteX4" fmla="*/ 221077 w 221135"/>
              <a:gd name="connsiteY4" fmla="*/ 110418 h 221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1135" h="221135">
                <a:moveTo>
                  <a:pt x="221077" y="110418"/>
                </a:moveTo>
                <a:cubicBezTo>
                  <a:pt x="221077" y="171483"/>
                  <a:pt x="171574" y="220986"/>
                  <a:pt x="110509" y="220986"/>
                </a:cubicBezTo>
                <a:cubicBezTo>
                  <a:pt x="49445" y="220986"/>
                  <a:pt x="-58" y="171483"/>
                  <a:pt x="-58" y="110418"/>
                </a:cubicBezTo>
                <a:cubicBezTo>
                  <a:pt x="-58" y="49354"/>
                  <a:pt x="49445" y="-149"/>
                  <a:pt x="110509" y="-149"/>
                </a:cubicBezTo>
                <a:cubicBezTo>
                  <a:pt x="171574" y="-149"/>
                  <a:pt x="221077" y="49354"/>
                  <a:pt x="221077" y="110418"/>
                </a:cubicBezTo>
                <a:close/>
              </a:path>
            </a:pathLst>
          </a:custGeom>
          <a:solidFill>
            <a:srgbClr val="0070C0"/>
          </a:solidFill>
          <a:ln w="249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90" name="Freeform: Shape 89">
            <a:extLst>
              <a:ext uri="{FF2B5EF4-FFF2-40B4-BE49-F238E27FC236}">
                <a16:creationId xmlns:a16="http://schemas.microsoft.com/office/drawing/2014/main" id="{737D8000-FFE3-C287-0F61-B1E6002A1B15}"/>
              </a:ext>
            </a:extLst>
          </p:cNvPr>
          <p:cNvSpPr/>
          <p:nvPr/>
        </p:nvSpPr>
        <p:spPr>
          <a:xfrm rot="10800000">
            <a:off x="2529714" y="2781078"/>
            <a:ext cx="63727" cy="493759"/>
          </a:xfrm>
          <a:custGeom>
            <a:avLst/>
            <a:gdLst>
              <a:gd name="connsiteX0" fmla="*/ -58 w 58359"/>
              <a:gd name="connsiteY0" fmla="*/ -149 h 452171"/>
              <a:gd name="connsiteX1" fmla="*/ 58301 w 58359"/>
              <a:gd name="connsiteY1" fmla="*/ -149 h 452171"/>
              <a:gd name="connsiteX2" fmla="*/ 58301 w 58359"/>
              <a:gd name="connsiteY2" fmla="*/ 452023 h 452171"/>
              <a:gd name="connsiteX3" fmla="*/ -58 w 58359"/>
              <a:gd name="connsiteY3" fmla="*/ 452023 h 4521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359" h="452171">
                <a:moveTo>
                  <a:pt x="-58" y="-149"/>
                </a:moveTo>
                <a:lnTo>
                  <a:pt x="58301" y="-149"/>
                </a:lnTo>
                <a:lnTo>
                  <a:pt x="58301" y="452023"/>
                </a:lnTo>
                <a:lnTo>
                  <a:pt x="-58" y="452023"/>
                </a:lnTo>
                <a:close/>
              </a:path>
            </a:pathLst>
          </a:custGeom>
          <a:solidFill>
            <a:srgbClr val="0070C0"/>
          </a:solidFill>
          <a:ln w="249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29D6AAE4-BBF7-AD24-41FC-ED7CCD04A6D1}"/>
              </a:ext>
            </a:extLst>
          </p:cNvPr>
          <p:cNvGrpSpPr/>
          <p:nvPr/>
        </p:nvGrpSpPr>
        <p:grpSpPr>
          <a:xfrm>
            <a:off x="1913153" y="1518053"/>
            <a:ext cx="1283236" cy="1283237"/>
            <a:chOff x="1376568" y="1558823"/>
            <a:chExt cx="1175152" cy="1175152"/>
          </a:xfrm>
        </p:grpSpPr>
        <p:sp>
          <p:nvSpPr>
            <p:cNvPr id="159" name="Oval 158">
              <a:extLst>
                <a:ext uri="{FF2B5EF4-FFF2-40B4-BE49-F238E27FC236}">
                  <a16:creationId xmlns:a16="http://schemas.microsoft.com/office/drawing/2014/main" id="{FA33C66E-AFFB-99EA-D36E-9F78FE154280}"/>
                </a:ext>
              </a:extLst>
            </p:cNvPr>
            <p:cNvSpPr/>
            <p:nvPr/>
          </p:nvSpPr>
          <p:spPr>
            <a:xfrm>
              <a:off x="1376568" y="1558823"/>
              <a:ext cx="1175152" cy="1175152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0" name="Oval 159">
              <a:extLst>
                <a:ext uri="{FF2B5EF4-FFF2-40B4-BE49-F238E27FC236}">
                  <a16:creationId xmlns:a16="http://schemas.microsoft.com/office/drawing/2014/main" id="{3A83A1DD-6081-4DBE-BC87-142E2557F923}"/>
                </a:ext>
              </a:extLst>
            </p:cNvPr>
            <p:cNvSpPr/>
            <p:nvPr/>
          </p:nvSpPr>
          <p:spPr>
            <a:xfrm>
              <a:off x="1501133" y="1683388"/>
              <a:ext cx="926023" cy="92602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77800" sx="102000" sy="102000" algn="ctr" rotWithShape="0">
                <a:prstClr val="black">
                  <a:alpha val="26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6B28C22C-E2F1-ADDD-67E2-481AE0BCAC0E}"/>
              </a:ext>
            </a:extLst>
          </p:cNvPr>
          <p:cNvGrpSpPr/>
          <p:nvPr/>
        </p:nvGrpSpPr>
        <p:grpSpPr>
          <a:xfrm>
            <a:off x="3414585" y="4919668"/>
            <a:ext cx="1283236" cy="1283237"/>
            <a:chOff x="3689810" y="2520118"/>
            <a:chExt cx="1175152" cy="1175152"/>
          </a:xfrm>
        </p:grpSpPr>
        <p:sp>
          <p:nvSpPr>
            <p:cNvPr id="147" name="Oval 146">
              <a:extLst>
                <a:ext uri="{FF2B5EF4-FFF2-40B4-BE49-F238E27FC236}">
                  <a16:creationId xmlns:a16="http://schemas.microsoft.com/office/drawing/2014/main" id="{35AE5856-B51E-364C-64D3-67E4F010F9F7}"/>
                </a:ext>
              </a:extLst>
            </p:cNvPr>
            <p:cNvSpPr/>
            <p:nvPr/>
          </p:nvSpPr>
          <p:spPr>
            <a:xfrm>
              <a:off x="3689810" y="2520118"/>
              <a:ext cx="1175152" cy="1175152"/>
            </a:xfrm>
            <a:prstGeom prst="ellipse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8" name="Oval 147">
              <a:extLst>
                <a:ext uri="{FF2B5EF4-FFF2-40B4-BE49-F238E27FC236}">
                  <a16:creationId xmlns:a16="http://schemas.microsoft.com/office/drawing/2014/main" id="{6B6F717E-D62D-EB8B-2787-EB430D325786}"/>
                </a:ext>
              </a:extLst>
            </p:cNvPr>
            <p:cNvSpPr/>
            <p:nvPr/>
          </p:nvSpPr>
          <p:spPr>
            <a:xfrm>
              <a:off x="3814376" y="2644683"/>
              <a:ext cx="926023" cy="92602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77800" sx="102000" sy="102000" algn="ctr" rotWithShape="0">
                <a:prstClr val="black">
                  <a:alpha val="26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25" name="TextBox 124">
            <a:extLst>
              <a:ext uri="{FF2B5EF4-FFF2-40B4-BE49-F238E27FC236}">
                <a16:creationId xmlns:a16="http://schemas.microsoft.com/office/drawing/2014/main" id="{7ABBA2AD-5FCC-B43B-EE59-CC4B497A10AE}"/>
              </a:ext>
            </a:extLst>
          </p:cNvPr>
          <p:cNvSpPr txBox="1"/>
          <p:nvPr/>
        </p:nvSpPr>
        <p:spPr>
          <a:xfrm>
            <a:off x="3445824" y="5422786"/>
            <a:ext cx="125199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Lora" pitchFamily="2" charset="0"/>
              </a:rPr>
              <a:t>II-XV</a:t>
            </a: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82903F9E-2247-1F0B-CDB7-F27F49F40D9B}"/>
              </a:ext>
            </a:extLst>
          </p:cNvPr>
          <p:cNvSpPr txBox="1"/>
          <p:nvPr/>
        </p:nvSpPr>
        <p:spPr>
          <a:xfrm>
            <a:off x="1966798" y="2033388"/>
            <a:ext cx="112583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Lora" pitchFamily="2" charset="0"/>
              </a:rPr>
              <a:t>I - VII</a:t>
            </a:r>
          </a:p>
        </p:txBody>
      </p:sp>
      <p:sp>
        <p:nvSpPr>
          <p:cNvPr id="409" name="TextBox 408">
            <a:extLst>
              <a:ext uri="{FF2B5EF4-FFF2-40B4-BE49-F238E27FC236}">
                <a16:creationId xmlns:a16="http://schemas.microsoft.com/office/drawing/2014/main" id="{457A4D11-04C6-B6B3-FB92-843E2A90EBC6}"/>
              </a:ext>
            </a:extLst>
          </p:cNvPr>
          <p:cNvSpPr txBox="1"/>
          <p:nvPr/>
        </p:nvSpPr>
        <p:spPr>
          <a:xfrm>
            <a:off x="1384734" y="1014934"/>
            <a:ext cx="238010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>
              <a:spcBef>
                <a:spcPts val="600"/>
              </a:spcBef>
            </a:pP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Oc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Eo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culture</a:t>
            </a:r>
          </a:p>
        </p:txBody>
      </p:sp>
      <p:sp>
        <p:nvSpPr>
          <p:cNvPr id="410" name="TextBox 409">
            <a:extLst>
              <a:ext uri="{FF2B5EF4-FFF2-40B4-BE49-F238E27FC236}">
                <a16:creationId xmlns:a16="http://schemas.microsoft.com/office/drawing/2014/main" id="{5DA356A0-86CD-1145-A228-33143729F6C9}"/>
              </a:ext>
            </a:extLst>
          </p:cNvPr>
          <p:cNvSpPr txBox="1"/>
          <p:nvPr/>
        </p:nvSpPr>
        <p:spPr>
          <a:xfrm>
            <a:off x="3196389" y="6323781"/>
            <a:ext cx="164984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>
              <a:spcBef>
                <a:spcPts val="600"/>
              </a:spcBef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Champa culture</a:t>
            </a:r>
          </a:p>
        </p:txBody>
      </p:sp>
      <p:sp>
        <p:nvSpPr>
          <p:cNvPr id="449" name="AutoShape 41">
            <a:extLst>
              <a:ext uri="{FF2B5EF4-FFF2-40B4-BE49-F238E27FC236}">
                <a16:creationId xmlns:a16="http://schemas.microsoft.com/office/drawing/2014/main" id="{4245DF6C-4C31-C41F-A3D1-126466BD5048}"/>
              </a:ext>
            </a:extLst>
          </p:cNvPr>
          <p:cNvSpPr/>
          <p:nvPr/>
        </p:nvSpPr>
        <p:spPr>
          <a:xfrm>
            <a:off x="1126673" y="3489361"/>
            <a:ext cx="2926496" cy="18951"/>
          </a:xfrm>
          <a:prstGeom prst="line">
            <a:avLst/>
          </a:prstGeom>
          <a:ln w="38100" cap="flat">
            <a:solidFill>
              <a:schemeClr val="tx1">
                <a:lumMod val="50000"/>
              </a:schemeClr>
            </a:solidFill>
            <a:prstDash val="dash"/>
            <a:headEnd type="arrow" w="med" len="sm"/>
            <a:tailEnd type="arrow" w="med" len="sm"/>
          </a:ln>
        </p:spPr>
        <p:txBody>
          <a:bodyPr/>
          <a:lstStyle/>
          <a:p>
            <a:endParaRPr lang="en-US" dirty="0"/>
          </a:p>
        </p:txBody>
      </p:sp>
      <p:sp>
        <p:nvSpPr>
          <p:cNvPr id="450" name="AutoShape 41">
            <a:extLst>
              <a:ext uri="{FF2B5EF4-FFF2-40B4-BE49-F238E27FC236}">
                <a16:creationId xmlns:a16="http://schemas.microsoft.com/office/drawing/2014/main" id="{6F503848-7C00-C25B-E883-729089E209EA}"/>
              </a:ext>
            </a:extLst>
          </p:cNvPr>
          <p:cNvSpPr/>
          <p:nvPr/>
        </p:nvSpPr>
        <p:spPr>
          <a:xfrm>
            <a:off x="1617423" y="4271198"/>
            <a:ext cx="4807778" cy="0"/>
          </a:xfrm>
          <a:prstGeom prst="line">
            <a:avLst/>
          </a:prstGeom>
          <a:ln w="38100" cap="flat">
            <a:solidFill>
              <a:schemeClr val="tx1">
                <a:lumMod val="50000"/>
              </a:schemeClr>
            </a:solidFill>
            <a:prstDash val="dash"/>
            <a:headEnd type="arrow" w="med" len="sm"/>
            <a:tailEnd type="arrow" w="med" len="sm"/>
          </a:ln>
        </p:spPr>
        <p:txBody>
          <a:bodyPr/>
          <a:lstStyle/>
          <a:p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2F680DC-2DA9-AF3A-CB84-D6E70F48F6DA}"/>
              </a:ext>
            </a:extLst>
          </p:cNvPr>
          <p:cNvSpPr txBox="1"/>
          <p:nvPr/>
        </p:nvSpPr>
        <p:spPr>
          <a:xfrm>
            <a:off x="-521128" y="3789637"/>
            <a:ext cx="200824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>
              <a:spcBef>
                <a:spcPts val="600"/>
              </a:spcBef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century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EFF448A-ECDF-FD82-AAC2-8DDA84B8B653}"/>
              </a:ext>
            </a:extLst>
          </p:cNvPr>
          <p:cNvGrpSpPr/>
          <p:nvPr/>
        </p:nvGrpSpPr>
        <p:grpSpPr>
          <a:xfrm>
            <a:off x="4053169" y="1014933"/>
            <a:ext cx="2380107" cy="2516695"/>
            <a:chOff x="4053169" y="1014933"/>
            <a:chExt cx="2380107" cy="2516695"/>
          </a:xfrm>
        </p:grpSpPr>
        <p:sp>
          <p:nvSpPr>
            <p:cNvPr id="438" name="Freeform: Shape 437">
              <a:extLst>
                <a:ext uri="{FF2B5EF4-FFF2-40B4-BE49-F238E27FC236}">
                  <a16:creationId xmlns:a16="http://schemas.microsoft.com/office/drawing/2014/main" id="{ADD624B0-DEA8-6240-836B-979388311FB6}"/>
                </a:ext>
              </a:extLst>
            </p:cNvPr>
            <p:cNvSpPr/>
            <p:nvPr/>
          </p:nvSpPr>
          <p:spPr>
            <a:xfrm rot="20799645">
              <a:off x="5066765" y="3290904"/>
              <a:ext cx="240724" cy="240724"/>
            </a:xfrm>
            <a:custGeom>
              <a:avLst/>
              <a:gdLst>
                <a:gd name="connsiteX0" fmla="*/ 220375 w 220448"/>
                <a:gd name="connsiteY0" fmla="*/ 110071 h 220448"/>
                <a:gd name="connsiteX1" fmla="*/ 110151 w 220448"/>
                <a:gd name="connsiteY1" fmla="*/ 220296 h 220448"/>
                <a:gd name="connsiteX2" fmla="*/ -74 w 220448"/>
                <a:gd name="connsiteY2" fmla="*/ 110071 h 220448"/>
                <a:gd name="connsiteX3" fmla="*/ 110151 w 220448"/>
                <a:gd name="connsiteY3" fmla="*/ -153 h 220448"/>
                <a:gd name="connsiteX4" fmla="*/ 220375 w 220448"/>
                <a:gd name="connsiteY4" fmla="*/ 110071 h 220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0448" h="220448">
                  <a:moveTo>
                    <a:pt x="220375" y="110071"/>
                  </a:moveTo>
                  <a:cubicBezTo>
                    <a:pt x="220375" y="170947"/>
                    <a:pt x="171027" y="220296"/>
                    <a:pt x="110151" y="220296"/>
                  </a:cubicBezTo>
                  <a:cubicBezTo>
                    <a:pt x="49276" y="220296"/>
                    <a:pt x="-74" y="170947"/>
                    <a:pt x="-74" y="110071"/>
                  </a:cubicBezTo>
                  <a:cubicBezTo>
                    <a:pt x="-74" y="49196"/>
                    <a:pt x="49275" y="-153"/>
                    <a:pt x="110151" y="-153"/>
                  </a:cubicBezTo>
                  <a:cubicBezTo>
                    <a:pt x="171025" y="-153"/>
                    <a:pt x="220375" y="49196"/>
                    <a:pt x="220375" y="110071"/>
                  </a:cubicBezTo>
                  <a:close/>
                </a:path>
              </a:pathLst>
            </a:custGeom>
            <a:solidFill>
              <a:srgbClr val="0070C0"/>
            </a:solidFill>
            <a:ln w="2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39" name="Freeform: Shape 438">
              <a:extLst>
                <a:ext uri="{FF2B5EF4-FFF2-40B4-BE49-F238E27FC236}">
                  <a16:creationId xmlns:a16="http://schemas.microsoft.com/office/drawing/2014/main" id="{398B0706-45E4-EBEA-8F9B-735A41520677}"/>
                </a:ext>
              </a:extLst>
            </p:cNvPr>
            <p:cNvSpPr/>
            <p:nvPr/>
          </p:nvSpPr>
          <p:spPr>
            <a:xfrm rot="10800000">
              <a:off x="5155264" y="2838276"/>
              <a:ext cx="63727" cy="493759"/>
            </a:xfrm>
            <a:custGeom>
              <a:avLst/>
              <a:gdLst>
                <a:gd name="connsiteX0" fmla="*/ -58 w 58359"/>
                <a:gd name="connsiteY0" fmla="*/ -149 h 452171"/>
                <a:gd name="connsiteX1" fmla="*/ 58301 w 58359"/>
                <a:gd name="connsiteY1" fmla="*/ -149 h 452171"/>
                <a:gd name="connsiteX2" fmla="*/ 58301 w 58359"/>
                <a:gd name="connsiteY2" fmla="*/ 452023 h 452171"/>
                <a:gd name="connsiteX3" fmla="*/ -58 w 58359"/>
                <a:gd name="connsiteY3" fmla="*/ 452023 h 452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359" h="452171">
                  <a:moveTo>
                    <a:pt x="-58" y="-149"/>
                  </a:moveTo>
                  <a:lnTo>
                    <a:pt x="58301" y="-149"/>
                  </a:lnTo>
                  <a:lnTo>
                    <a:pt x="58301" y="452023"/>
                  </a:lnTo>
                  <a:lnTo>
                    <a:pt x="-58" y="452023"/>
                  </a:lnTo>
                  <a:close/>
                </a:path>
              </a:pathLst>
            </a:custGeom>
            <a:solidFill>
              <a:srgbClr val="0070C0"/>
            </a:solidFill>
            <a:ln w="24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0" name="Oval 439">
              <a:extLst>
                <a:ext uri="{FF2B5EF4-FFF2-40B4-BE49-F238E27FC236}">
                  <a16:creationId xmlns:a16="http://schemas.microsoft.com/office/drawing/2014/main" id="{7EB720AC-FE4D-CC54-FA8E-A00420780679}"/>
                </a:ext>
              </a:extLst>
            </p:cNvPr>
            <p:cNvSpPr/>
            <p:nvPr/>
          </p:nvSpPr>
          <p:spPr>
            <a:xfrm>
              <a:off x="4545509" y="1575249"/>
              <a:ext cx="1283236" cy="128323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1" name="Oval 440">
              <a:extLst>
                <a:ext uri="{FF2B5EF4-FFF2-40B4-BE49-F238E27FC236}">
                  <a16:creationId xmlns:a16="http://schemas.microsoft.com/office/drawing/2014/main" id="{DCD54310-CB27-7E3C-ADF7-1274CA3AA991}"/>
                </a:ext>
              </a:extLst>
            </p:cNvPr>
            <p:cNvSpPr/>
            <p:nvPr/>
          </p:nvSpPr>
          <p:spPr>
            <a:xfrm>
              <a:off x="4681531" y="1711270"/>
              <a:ext cx="1011193" cy="101119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77800" sx="102000" sy="102000" algn="ctr" rotWithShape="0">
                <a:prstClr val="black">
                  <a:alpha val="26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5" name="TextBox 444">
              <a:extLst>
                <a:ext uri="{FF2B5EF4-FFF2-40B4-BE49-F238E27FC236}">
                  <a16:creationId xmlns:a16="http://schemas.microsoft.com/office/drawing/2014/main" id="{CF49CC1D-532D-C0DD-1AFC-90A199322554}"/>
                </a:ext>
              </a:extLst>
            </p:cNvPr>
            <p:cNvSpPr txBox="1"/>
            <p:nvPr/>
          </p:nvSpPr>
          <p:spPr>
            <a:xfrm>
              <a:off x="4542552" y="2095921"/>
              <a:ext cx="1225423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Lora" pitchFamily="2" charset="0"/>
                </a:rPr>
                <a:t>IX - XIII</a:t>
              </a:r>
            </a:p>
          </p:txBody>
        </p:sp>
        <p:sp>
          <p:nvSpPr>
            <p:cNvPr id="447" name="TextBox 446">
              <a:extLst>
                <a:ext uri="{FF2B5EF4-FFF2-40B4-BE49-F238E27FC236}">
                  <a16:creationId xmlns:a16="http://schemas.microsoft.com/office/drawing/2014/main" id="{752841C4-CD66-D9A7-EB20-49308B27B9C4}"/>
                </a:ext>
              </a:extLst>
            </p:cNvPr>
            <p:cNvSpPr txBox="1"/>
            <p:nvPr/>
          </p:nvSpPr>
          <p:spPr>
            <a:xfrm>
              <a:off x="4053169" y="1014933"/>
              <a:ext cx="2380107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lvl="0" algn="ctr">
                <a:spcBef>
                  <a:spcPts val="600"/>
                </a:spcBef>
              </a:pPr>
              <a:r>
                <a: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one carvings of Cambodia</a:t>
              </a:r>
            </a:p>
          </p:txBody>
        </p:sp>
        <p:sp>
          <p:nvSpPr>
            <p:cNvPr id="4" name="AutoShape 41">
              <a:extLst>
                <a:ext uri="{FF2B5EF4-FFF2-40B4-BE49-F238E27FC236}">
                  <a16:creationId xmlns:a16="http://schemas.microsoft.com/office/drawing/2014/main" id="{1C4A3B23-3E42-E49A-18F9-A678C94E549D}"/>
                </a:ext>
              </a:extLst>
            </p:cNvPr>
            <p:cNvSpPr/>
            <p:nvPr/>
          </p:nvSpPr>
          <p:spPr>
            <a:xfrm flipH="1">
              <a:off x="4561800" y="3507677"/>
              <a:ext cx="1232943" cy="1236"/>
            </a:xfrm>
            <a:prstGeom prst="line">
              <a:avLst/>
            </a:prstGeom>
            <a:ln w="38100" cap="flat">
              <a:solidFill>
                <a:schemeClr val="tx1">
                  <a:lumMod val="50000"/>
                </a:schemeClr>
              </a:solidFill>
              <a:prstDash val="dash"/>
              <a:headEnd type="arrow" w="med" len="sm"/>
              <a:tailEnd type="arrow" w="med" len="sm"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35BFC29-CFCF-8DE5-D117-59889F19CAD3}"/>
              </a:ext>
            </a:extLst>
          </p:cNvPr>
          <p:cNvGrpSpPr/>
          <p:nvPr/>
        </p:nvGrpSpPr>
        <p:grpSpPr>
          <a:xfrm>
            <a:off x="6480391" y="4238660"/>
            <a:ext cx="2874423" cy="2469674"/>
            <a:chOff x="6480391" y="4238660"/>
            <a:chExt cx="2874423" cy="2469674"/>
          </a:xfrm>
        </p:grpSpPr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FE724F16-68F6-2634-A22E-98D88E64C0AB}"/>
                </a:ext>
              </a:extLst>
            </p:cNvPr>
            <p:cNvSpPr/>
            <p:nvPr/>
          </p:nvSpPr>
          <p:spPr>
            <a:xfrm rot="18900000">
              <a:off x="7861071" y="4238660"/>
              <a:ext cx="241475" cy="241475"/>
            </a:xfrm>
            <a:custGeom>
              <a:avLst/>
              <a:gdLst>
                <a:gd name="connsiteX0" fmla="*/ 221077 w 221135"/>
                <a:gd name="connsiteY0" fmla="*/ 110418 h 221135"/>
                <a:gd name="connsiteX1" fmla="*/ 110510 w 221135"/>
                <a:gd name="connsiteY1" fmla="*/ 220986 h 221135"/>
                <a:gd name="connsiteX2" fmla="*/ -58 w 221135"/>
                <a:gd name="connsiteY2" fmla="*/ 110418 h 221135"/>
                <a:gd name="connsiteX3" fmla="*/ 110510 w 221135"/>
                <a:gd name="connsiteY3" fmla="*/ -149 h 221135"/>
                <a:gd name="connsiteX4" fmla="*/ 221077 w 221135"/>
                <a:gd name="connsiteY4" fmla="*/ 110418 h 221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1135" h="221135">
                  <a:moveTo>
                    <a:pt x="221077" y="110418"/>
                  </a:moveTo>
                  <a:cubicBezTo>
                    <a:pt x="221077" y="171483"/>
                    <a:pt x="171574" y="220986"/>
                    <a:pt x="110510" y="220986"/>
                  </a:cubicBezTo>
                  <a:cubicBezTo>
                    <a:pt x="49445" y="220986"/>
                    <a:pt x="-58" y="171483"/>
                    <a:pt x="-58" y="110418"/>
                  </a:cubicBezTo>
                  <a:cubicBezTo>
                    <a:pt x="-58" y="49354"/>
                    <a:pt x="49445" y="-149"/>
                    <a:pt x="110510" y="-149"/>
                  </a:cubicBezTo>
                  <a:cubicBezTo>
                    <a:pt x="171574" y="-149"/>
                    <a:pt x="221077" y="49354"/>
                    <a:pt x="221077" y="110418"/>
                  </a:cubicBez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24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E0C48A97-97A6-F5E2-EEB7-145C94183847}"/>
                </a:ext>
              </a:extLst>
            </p:cNvPr>
            <p:cNvSpPr/>
            <p:nvPr/>
          </p:nvSpPr>
          <p:spPr>
            <a:xfrm>
              <a:off x="7949938" y="4448671"/>
              <a:ext cx="63727" cy="493759"/>
            </a:xfrm>
            <a:custGeom>
              <a:avLst/>
              <a:gdLst>
                <a:gd name="connsiteX0" fmla="*/ 0 w 58359"/>
                <a:gd name="connsiteY0" fmla="*/ 0 h 452171"/>
                <a:gd name="connsiteX1" fmla="*/ 58359 w 58359"/>
                <a:gd name="connsiteY1" fmla="*/ 0 h 452171"/>
                <a:gd name="connsiteX2" fmla="*/ 58359 w 58359"/>
                <a:gd name="connsiteY2" fmla="*/ 452172 h 452171"/>
                <a:gd name="connsiteX3" fmla="*/ 0 w 58359"/>
                <a:gd name="connsiteY3" fmla="*/ 452172 h 452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359" h="452171">
                  <a:moveTo>
                    <a:pt x="0" y="0"/>
                  </a:moveTo>
                  <a:lnTo>
                    <a:pt x="58359" y="0"/>
                  </a:lnTo>
                  <a:lnTo>
                    <a:pt x="58359" y="452172"/>
                  </a:lnTo>
                  <a:lnTo>
                    <a:pt x="0" y="452172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24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grpSp>
          <p:nvGrpSpPr>
            <p:cNvPr id="120" name="Group 119">
              <a:extLst>
                <a:ext uri="{FF2B5EF4-FFF2-40B4-BE49-F238E27FC236}">
                  <a16:creationId xmlns:a16="http://schemas.microsoft.com/office/drawing/2014/main" id="{93ECD071-026B-0F4A-3589-B83A4597DD5F}"/>
                </a:ext>
              </a:extLst>
            </p:cNvPr>
            <p:cNvGrpSpPr/>
            <p:nvPr/>
          </p:nvGrpSpPr>
          <p:grpSpPr>
            <a:xfrm>
              <a:off x="7352362" y="4863038"/>
              <a:ext cx="1283236" cy="1283237"/>
              <a:chOff x="5355755" y="2468257"/>
              <a:chExt cx="1175152" cy="1175152"/>
            </a:xfrm>
          </p:grpSpPr>
          <p:sp>
            <p:nvSpPr>
              <p:cNvPr id="145" name="Oval 144">
                <a:extLst>
                  <a:ext uri="{FF2B5EF4-FFF2-40B4-BE49-F238E27FC236}">
                    <a16:creationId xmlns:a16="http://schemas.microsoft.com/office/drawing/2014/main" id="{D0A04CBB-DADD-EC23-21A1-5CCA9D1DF273}"/>
                  </a:ext>
                </a:extLst>
              </p:cNvPr>
              <p:cNvSpPr/>
              <p:nvPr/>
            </p:nvSpPr>
            <p:spPr>
              <a:xfrm>
                <a:off x="5355755" y="2468257"/>
                <a:ext cx="1175152" cy="1175152"/>
              </a:xfrm>
              <a:prstGeom prst="ellipse">
                <a:avLst/>
              </a:prstGeom>
              <a:solidFill>
                <a:schemeClr val="bg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46" name="Oval 145">
                <a:extLst>
                  <a:ext uri="{FF2B5EF4-FFF2-40B4-BE49-F238E27FC236}">
                    <a16:creationId xmlns:a16="http://schemas.microsoft.com/office/drawing/2014/main" id="{C402E92F-45FF-1E46-0555-769586EB367A}"/>
                  </a:ext>
                </a:extLst>
              </p:cNvPr>
              <p:cNvSpPr/>
              <p:nvPr/>
            </p:nvSpPr>
            <p:spPr>
              <a:xfrm>
                <a:off x="5480321" y="2592822"/>
                <a:ext cx="926023" cy="92602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177800" sx="102000" sy="102000" algn="ctr" rotWithShape="0">
                  <a:prstClr val="black">
                    <a:alpha val="26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41C1AEF1-9380-0D96-E848-66716A43918F}"/>
                </a:ext>
              </a:extLst>
            </p:cNvPr>
            <p:cNvSpPr txBox="1"/>
            <p:nvPr/>
          </p:nvSpPr>
          <p:spPr>
            <a:xfrm>
              <a:off x="7437431" y="5361556"/>
              <a:ext cx="1113097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Lora" pitchFamily="2" charset="0"/>
                </a:rPr>
                <a:t>XV-XVIII</a:t>
              </a:r>
            </a:p>
          </p:txBody>
        </p:sp>
        <p:sp>
          <p:nvSpPr>
            <p:cNvPr id="411" name="TextBox 410">
              <a:extLst>
                <a:ext uri="{FF2B5EF4-FFF2-40B4-BE49-F238E27FC236}">
                  <a16:creationId xmlns:a16="http://schemas.microsoft.com/office/drawing/2014/main" id="{5AA939B8-1586-DC8F-8A84-40C03B828417}"/>
                </a:ext>
              </a:extLst>
            </p:cNvPr>
            <p:cNvSpPr txBox="1"/>
            <p:nvPr/>
          </p:nvSpPr>
          <p:spPr>
            <a:xfrm>
              <a:off x="6687518" y="6215891"/>
              <a:ext cx="2612921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lvl="0" algn="ctr">
                <a:spcBef>
                  <a:spcPts val="600"/>
                </a:spcBef>
              </a:pPr>
              <a:r>
                <a: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aritime trades – Shipwrecked ceramics</a:t>
              </a:r>
            </a:p>
          </p:txBody>
        </p:sp>
        <p:sp>
          <p:nvSpPr>
            <p:cNvPr id="5" name="AutoShape 41">
              <a:extLst>
                <a:ext uri="{FF2B5EF4-FFF2-40B4-BE49-F238E27FC236}">
                  <a16:creationId xmlns:a16="http://schemas.microsoft.com/office/drawing/2014/main" id="{4797FB65-498A-C5C3-59FA-1059BCEAE808}"/>
                </a:ext>
              </a:extLst>
            </p:cNvPr>
            <p:cNvSpPr/>
            <p:nvPr/>
          </p:nvSpPr>
          <p:spPr>
            <a:xfrm>
              <a:off x="6480391" y="4271198"/>
              <a:ext cx="2874423" cy="0"/>
            </a:xfrm>
            <a:prstGeom prst="line">
              <a:avLst/>
            </a:prstGeom>
            <a:ln w="38100" cap="flat">
              <a:solidFill>
                <a:schemeClr val="tx1">
                  <a:lumMod val="50000"/>
                </a:schemeClr>
              </a:solidFill>
              <a:prstDash val="dash"/>
              <a:headEnd type="arrow" w="med" len="sm"/>
              <a:tailEnd type="arrow" w="med" len="sm"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E213347B-74B9-EEE9-058B-4FDCF5FA0675}"/>
              </a:ext>
            </a:extLst>
          </p:cNvPr>
          <p:cNvSpPr txBox="1"/>
          <p:nvPr/>
        </p:nvSpPr>
        <p:spPr>
          <a:xfrm>
            <a:off x="758980" y="4056498"/>
            <a:ext cx="28970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>
              <a:spcBef>
                <a:spcPts val="600"/>
              </a:spcBef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0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828401F-DC3E-6BC8-AF4D-515671AD7EE3}"/>
              </a:ext>
            </a:extLst>
          </p:cNvPr>
          <p:cNvSpPr txBox="1"/>
          <p:nvPr/>
        </p:nvSpPr>
        <p:spPr>
          <a:xfrm>
            <a:off x="11339163" y="4024977"/>
            <a:ext cx="47741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>
              <a:spcBef>
                <a:spcPts val="600"/>
              </a:spcBef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now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9D766F2C-B6FA-08A0-F2CE-D65312F5827D}"/>
              </a:ext>
            </a:extLst>
          </p:cNvPr>
          <p:cNvGrpSpPr/>
          <p:nvPr/>
        </p:nvGrpSpPr>
        <p:grpSpPr>
          <a:xfrm>
            <a:off x="9581341" y="4226379"/>
            <a:ext cx="2612921" cy="2469674"/>
            <a:chOff x="6687518" y="4238660"/>
            <a:chExt cx="2612921" cy="2469674"/>
          </a:xfrm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66E18919-4F2A-D0DB-0BF8-F5790AECC977}"/>
                </a:ext>
              </a:extLst>
            </p:cNvPr>
            <p:cNvSpPr/>
            <p:nvPr/>
          </p:nvSpPr>
          <p:spPr>
            <a:xfrm rot="18900000">
              <a:off x="7861071" y="4238660"/>
              <a:ext cx="241475" cy="241475"/>
            </a:xfrm>
            <a:custGeom>
              <a:avLst/>
              <a:gdLst>
                <a:gd name="connsiteX0" fmla="*/ 221077 w 221135"/>
                <a:gd name="connsiteY0" fmla="*/ 110418 h 221135"/>
                <a:gd name="connsiteX1" fmla="*/ 110510 w 221135"/>
                <a:gd name="connsiteY1" fmla="*/ 220986 h 221135"/>
                <a:gd name="connsiteX2" fmla="*/ -58 w 221135"/>
                <a:gd name="connsiteY2" fmla="*/ 110418 h 221135"/>
                <a:gd name="connsiteX3" fmla="*/ 110510 w 221135"/>
                <a:gd name="connsiteY3" fmla="*/ -149 h 221135"/>
                <a:gd name="connsiteX4" fmla="*/ 221077 w 221135"/>
                <a:gd name="connsiteY4" fmla="*/ 110418 h 221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1135" h="221135">
                  <a:moveTo>
                    <a:pt x="221077" y="110418"/>
                  </a:moveTo>
                  <a:cubicBezTo>
                    <a:pt x="221077" y="171483"/>
                    <a:pt x="171574" y="220986"/>
                    <a:pt x="110510" y="220986"/>
                  </a:cubicBezTo>
                  <a:cubicBezTo>
                    <a:pt x="49445" y="220986"/>
                    <a:pt x="-58" y="171483"/>
                    <a:pt x="-58" y="110418"/>
                  </a:cubicBezTo>
                  <a:cubicBezTo>
                    <a:pt x="-58" y="49354"/>
                    <a:pt x="49445" y="-149"/>
                    <a:pt x="110510" y="-149"/>
                  </a:cubicBezTo>
                  <a:cubicBezTo>
                    <a:pt x="171574" y="-149"/>
                    <a:pt x="221077" y="49354"/>
                    <a:pt x="221077" y="110418"/>
                  </a:cubicBez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24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EF424E6-E17C-79E6-EBE3-099CB25EE4D5}"/>
                </a:ext>
              </a:extLst>
            </p:cNvPr>
            <p:cNvSpPr/>
            <p:nvPr/>
          </p:nvSpPr>
          <p:spPr>
            <a:xfrm>
              <a:off x="7949938" y="4448671"/>
              <a:ext cx="63727" cy="493759"/>
            </a:xfrm>
            <a:custGeom>
              <a:avLst/>
              <a:gdLst>
                <a:gd name="connsiteX0" fmla="*/ 0 w 58359"/>
                <a:gd name="connsiteY0" fmla="*/ 0 h 452171"/>
                <a:gd name="connsiteX1" fmla="*/ 58359 w 58359"/>
                <a:gd name="connsiteY1" fmla="*/ 0 h 452171"/>
                <a:gd name="connsiteX2" fmla="*/ 58359 w 58359"/>
                <a:gd name="connsiteY2" fmla="*/ 452172 h 452171"/>
                <a:gd name="connsiteX3" fmla="*/ 0 w 58359"/>
                <a:gd name="connsiteY3" fmla="*/ 452172 h 452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359" h="452171">
                  <a:moveTo>
                    <a:pt x="0" y="0"/>
                  </a:moveTo>
                  <a:lnTo>
                    <a:pt x="58359" y="0"/>
                  </a:lnTo>
                  <a:lnTo>
                    <a:pt x="58359" y="452172"/>
                  </a:lnTo>
                  <a:lnTo>
                    <a:pt x="0" y="452172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24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B3F42900-5194-B5B7-D134-9B7778647BE8}"/>
                </a:ext>
              </a:extLst>
            </p:cNvPr>
            <p:cNvGrpSpPr/>
            <p:nvPr/>
          </p:nvGrpSpPr>
          <p:grpSpPr>
            <a:xfrm>
              <a:off x="7352362" y="4863038"/>
              <a:ext cx="1283236" cy="1283237"/>
              <a:chOff x="5355755" y="2468257"/>
              <a:chExt cx="1175152" cy="1175152"/>
            </a:xfrm>
          </p:grpSpPr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7884E415-C68F-9531-FF6C-0CCC6CCC3D98}"/>
                  </a:ext>
                </a:extLst>
              </p:cNvPr>
              <p:cNvSpPr/>
              <p:nvPr/>
            </p:nvSpPr>
            <p:spPr>
              <a:xfrm>
                <a:off x="5355755" y="2468257"/>
                <a:ext cx="1175152" cy="1175152"/>
              </a:xfrm>
              <a:prstGeom prst="ellipse">
                <a:avLst/>
              </a:prstGeom>
              <a:solidFill>
                <a:schemeClr val="bg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84E6C6D5-BFA7-7C25-720A-1A6FC898B56C}"/>
                  </a:ext>
                </a:extLst>
              </p:cNvPr>
              <p:cNvSpPr/>
              <p:nvPr/>
            </p:nvSpPr>
            <p:spPr>
              <a:xfrm>
                <a:off x="5480321" y="2592822"/>
                <a:ext cx="926023" cy="92602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177800" sx="102000" sy="102000" algn="ctr" rotWithShape="0">
                  <a:prstClr val="black">
                    <a:alpha val="26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6AEFE9E3-FE18-220F-950E-8AFB9DBCBCFB}"/>
                </a:ext>
              </a:extLst>
            </p:cNvPr>
            <p:cNvSpPr txBox="1"/>
            <p:nvPr/>
          </p:nvSpPr>
          <p:spPr>
            <a:xfrm>
              <a:off x="7437431" y="5361556"/>
              <a:ext cx="1113097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Lora" pitchFamily="2" charset="0"/>
                </a:rPr>
                <a:t>XIX-now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34BB531F-64C1-40D2-2ED6-0A9A1541E620}"/>
                </a:ext>
              </a:extLst>
            </p:cNvPr>
            <p:cNvSpPr txBox="1"/>
            <p:nvPr/>
          </p:nvSpPr>
          <p:spPr>
            <a:xfrm>
              <a:off x="6687518" y="6215891"/>
              <a:ext cx="2612921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lvl="0" algn="ctr">
                <a:spcBef>
                  <a:spcPts val="600"/>
                </a:spcBef>
              </a:pPr>
              <a:r>
                <a: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inority cultures from Southern provinces</a:t>
              </a:r>
            </a:p>
          </p:txBody>
        </p:sp>
        <p:sp>
          <p:nvSpPr>
            <p:cNvPr id="32" name="AutoShape 41">
              <a:extLst>
                <a:ext uri="{FF2B5EF4-FFF2-40B4-BE49-F238E27FC236}">
                  <a16:creationId xmlns:a16="http://schemas.microsoft.com/office/drawing/2014/main" id="{D45BF54D-5ECC-BD2D-E00D-CDF2FB9EB44A}"/>
                </a:ext>
              </a:extLst>
            </p:cNvPr>
            <p:cNvSpPr/>
            <p:nvPr/>
          </p:nvSpPr>
          <p:spPr>
            <a:xfrm>
              <a:off x="7437431" y="4248130"/>
              <a:ext cx="1007909" cy="0"/>
            </a:xfrm>
            <a:prstGeom prst="line">
              <a:avLst/>
            </a:prstGeom>
            <a:ln w="38100" cap="flat">
              <a:solidFill>
                <a:schemeClr val="tx1">
                  <a:lumMod val="50000"/>
                </a:schemeClr>
              </a:solidFill>
              <a:prstDash val="dash"/>
              <a:headEnd type="arrow" w="med" len="sm"/>
              <a:tailEnd type="arrow" w="med" len="sm"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F818AFBB-D10D-AB9D-7882-950FF20109C7}"/>
              </a:ext>
            </a:extLst>
          </p:cNvPr>
          <p:cNvGrpSpPr/>
          <p:nvPr/>
        </p:nvGrpSpPr>
        <p:grpSpPr>
          <a:xfrm>
            <a:off x="3908318" y="1040202"/>
            <a:ext cx="7379849" cy="2680914"/>
            <a:chOff x="1198234" y="1024930"/>
            <a:chExt cx="7379849" cy="2680914"/>
          </a:xfrm>
        </p:grpSpPr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A33CBAB2-5243-4591-E2AE-38B337BFFEEB}"/>
                </a:ext>
              </a:extLst>
            </p:cNvPr>
            <p:cNvSpPr/>
            <p:nvPr/>
          </p:nvSpPr>
          <p:spPr>
            <a:xfrm rot="20799645">
              <a:off x="5066765" y="3290904"/>
              <a:ext cx="240724" cy="240724"/>
            </a:xfrm>
            <a:custGeom>
              <a:avLst/>
              <a:gdLst>
                <a:gd name="connsiteX0" fmla="*/ 220375 w 220448"/>
                <a:gd name="connsiteY0" fmla="*/ 110071 h 220448"/>
                <a:gd name="connsiteX1" fmla="*/ 110151 w 220448"/>
                <a:gd name="connsiteY1" fmla="*/ 220296 h 220448"/>
                <a:gd name="connsiteX2" fmla="*/ -74 w 220448"/>
                <a:gd name="connsiteY2" fmla="*/ 110071 h 220448"/>
                <a:gd name="connsiteX3" fmla="*/ 110151 w 220448"/>
                <a:gd name="connsiteY3" fmla="*/ -153 h 220448"/>
                <a:gd name="connsiteX4" fmla="*/ 220375 w 220448"/>
                <a:gd name="connsiteY4" fmla="*/ 110071 h 220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0448" h="220448">
                  <a:moveTo>
                    <a:pt x="220375" y="110071"/>
                  </a:moveTo>
                  <a:cubicBezTo>
                    <a:pt x="220375" y="170947"/>
                    <a:pt x="171027" y="220296"/>
                    <a:pt x="110151" y="220296"/>
                  </a:cubicBezTo>
                  <a:cubicBezTo>
                    <a:pt x="49276" y="220296"/>
                    <a:pt x="-74" y="170947"/>
                    <a:pt x="-74" y="110071"/>
                  </a:cubicBezTo>
                  <a:cubicBezTo>
                    <a:pt x="-74" y="49196"/>
                    <a:pt x="49275" y="-153"/>
                    <a:pt x="110151" y="-153"/>
                  </a:cubicBezTo>
                  <a:cubicBezTo>
                    <a:pt x="171025" y="-153"/>
                    <a:pt x="220375" y="49196"/>
                    <a:pt x="220375" y="110071"/>
                  </a:cubicBezTo>
                  <a:close/>
                </a:path>
              </a:pathLst>
            </a:custGeom>
            <a:solidFill>
              <a:srgbClr val="0070C0"/>
            </a:solidFill>
            <a:ln w="2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90C00391-CDD2-C8ED-CA27-A4A47CC510BC}"/>
                </a:ext>
              </a:extLst>
            </p:cNvPr>
            <p:cNvSpPr/>
            <p:nvPr/>
          </p:nvSpPr>
          <p:spPr>
            <a:xfrm rot="10800000">
              <a:off x="5155264" y="2838276"/>
              <a:ext cx="63727" cy="493759"/>
            </a:xfrm>
            <a:custGeom>
              <a:avLst/>
              <a:gdLst>
                <a:gd name="connsiteX0" fmla="*/ -58 w 58359"/>
                <a:gd name="connsiteY0" fmla="*/ -149 h 452171"/>
                <a:gd name="connsiteX1" fmla="*/ 58301 w 58359"/>
                <a:gd name="connsiteY1" fmla="*/ -149 h 452171"/>
                <a:gd name="connsiteX2" fmla="*/ 58301 w 58359"/>
                <a:gd name="connsiteY2" fmla="*/ 452023 h 452171"/>
                <a:gd name="connsiteX3" fmla="*/ -58 w 58359"/>
                <a:gd name="connsiteY3" fmla="*/ 452023 h 452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359" h="452171">
                  <a:moveTo>
                    <a:pt x="-58" y="-149"/>
                  </a:moveTo>
                  <a:lnTo>
                    <a:pt x="58301" y="-149"/>
                  </a:lnTo>
                  <a:lnTo>
                    <a:pt x="58301" y="452023"/>
                  </a:lnTo>
                  <a:lnTo>
                    <a:pt x="-58" y="452023"/>
                  </a:lnTo>
                  <a:close/>
                </a:path>
              </a:pathLst>
            </a:custGeom>
            <a:solidFill>
              <a:srgbClr val="0070C0"/>
            </a:solidFill>
            <a:ln w="24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701CCAFC-4EC4-7FD1-9004-171A3428D7C1}"/>
                </a:ext>
              </a:extLst>
            </p:cNvPr>
            <p:cNvSpPr/>
            <p:nvPr/>
          </p:nvSpPr>
          <p:spPr>
            <a:xfrm>
              <a:off x="4545509" y="1575249"/>
              <a:ext cx="1283236" cy="128323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2F59AFAC-A307-A939-2147-13AEDB82DC19}"/>
                </a:ext>
              </a:extLst>
            </p:cNvPr>
            <p:cNvSpPr/>
            <p:nvPr/>
          </p:nvSpPr>
          <p:spPr>
            <a:xfrm>
              <a:off x="4681531" y="1711270"/>
              <a:ext cx="1011193" cy="101119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77800" sx="102000" sy="102000" algn="ctr" rotWithShape="0">
                <a:prstClr val="black">
                  <a:alpha val="26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F011B314-5658-8BC5-8270-E448D9746082}"/>
                </a:ext>
              </a:extLst>
            </p:cNvPr>
            <p:cNvSpPr txBox="1"/>
            <p:nvPr/>
          </p:nvSpPr>
          <p:spPr>
            <a:xfrm>
              <a:off x="4542552" y="2095921"/>
              <a:ext cx="1225423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Lora" pitchFamily="2" charset="0"/>
                </a:rPr>
                <a:t>VII - now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45DE5513-146C-B011-8394-9A3D576AFAA9}"/>
                </a:ext>
              </a:extLst>
            </p:cNvPr>
            <p:cNvSpPr txBox="1"/>
            <p:nvPr/>
          </p:nvSpPr>
          <p:spPr>
            <a:xfrm>
              <a:off x="4019005" y="1024930"/>
              <a:ext cx="2380107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lvl="0" algn="ctr">
                <a:spcBef>
                  <a:spcPts val="600"/>
                </a:spcBef>
              </a:pPr>
              <a:r>
                <a: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uddhist Statues of Asian countries</a:t>
              </a:r>
            </a:p>
          </p:txBody>
        </p:sp>
        <p:sp>
          <p:nvSpPr>
            <p:cNvPr id="42" name="AutoShape 41">
              <a:extLst>
                <a:ext uri="{FF2B5EF4-FFF2-40B4-BE49-F238E27FC236}">
                  <a16:creationId xmlns:a16="http://schemas.microsoft.com/office/drawing/2014/main" id="{F436C36C-3B7C-D2E9-6CAB-86B1ABEE20FA}"/>
                </a:ext>
              </a:extLst>
            </p:cNvPr>
            <p:cNvSpPr/>
            <p:nvPr/>
          </p:nvSpPr>
          <p:spPr>
            <a:xfrm flipH="1">
              <a:off x="1198234" y="3661395"/>
              <a:ext cx="7379849" cy="44449"/>
            </a:xfrm>
            <a:prstGeom prst="line">
              <a:avLst/>
            </a:prstGeom>
            <a:ln w="38100" cap="flat">
              <a:solidFill>
                <a:schemeClr val="tx1">
                  <a:lumMod val="50000"/>
                </a:schemeClr>
              </a:solidFill>
              <a:prstDash val="dash"/>
              <a:headEnd type="arrow" w="med" len="sm"/>
              <a:tailEnd type="arrow" w="med" len="sm"/>
            </a:ln>
          </p:spPr>
          <p:txBody>
            <a:bodyPr/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4106619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866F82-FF61-E40A-02E1-CF31C503A9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673A80-62AD-45D7-4D18-62F5890BF9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98082" y="1098000"/>
            <a:ext cx="7074587" cy="1017879"/>
          </a:xfrm>
        </p:spPr>
        <p:txBody>
          <a:bodyPr/>
          <a:lstStyle/>
          <a:p>
            <a:pPr marL="620411" lvl="1" indent="-285750">
              <a:lnSpc>
                <a:spcPct val="100000"/>
              </a:lnSpc>
            </a:pPr>
            <a:r>
              <a:rPr lang="en-US" dirty="0"/>
              <a:t>Time: II century – XIX</a:t>
            </a:r>
          </a:p>
          <a:p>
            <a:pPr marL="620411" lvl="1" indent="-285750">
              <a:lnSpc>
                <a:spcPct val="100000"/>
              </a:lnSpc>
            </a:pPr>
            <a:r>
              <a:rPr lang="en-US" dirty="0"/>
              <a:t>Characteristics: Influence of Hinduism, Temple architecture.</a:t>
            </a:r>
            <a:endParaRPr lang="en-US" dirty="0">
              <a:solidFill>
                <a:srgbClr val="333333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F6380D4-4A5C-70FC-248E-59AF798196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mpa cultu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1FE06DA-C8DB-6DC9-5D7D-DDDEA493FBC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9158" r="7358"/>
          <a:stretch>
            <a:fillRect/>
          </a:stretch>
        </p:blipFill>
        <p:spPr>
          <a:xfrm>
            <a:off x="0" y="3320204"/>
            <a:ext cx="3937982" cy="353779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23ADF9E-B469-7A51-7731-51C4C854F27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9234" r="7282"/>
          <a:stretch>
            <a:fillRect/>
          </a:stretch>
        </p:blipFill>
        <p:spPr>
          <a:xfrm>
            <a:off x="4224669" y="3320204"/>
            <a:ext cx="3937982" cy="353779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AC7F59A-2E49-81F3-7DB4-49F91E75CD84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8333" r="12387"/>
          <a:stretch>
            <a:fillRect/>
          </a:stretch>
        </p:blipFill>
        <p:spPr>
          <a:xfrm>
            <a:off x="8449339" y="3320204"/>
            <a:ext cx="3742661" cy="3540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4804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7042A1-89A3-00E0-CB86-279D315047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A47F698-8495-08C8-A3DB-2C862BFCAFB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98082" y="1098000"/>
            <a:ext cx="8860858" cy="1017879"/>
          </a:xfrm>
        </p:spPr>
        <p:txBody>
          <a:bodyPr/>
          <a:lstStyle/>
          <a:p>
            <a:pPr marL="620411" lvl="1" indent="-285750">
              <a:lnSpc>
                <a:spcPct val="100000"/>
              </a:lnSpc>
            </a:pPr>
            <a:r>
              <a:rPr lang="en-US" dirty="0"/>
              <a:t>Time: First century – VII</a:t>
            </a:r>
          </a:p>
          <a:p>
            <a:pPr marL="620411" lvl="1" indent="-285750">
              <a:lnSpc>
                <a:spcPct val="100000"/>
              </a:lnSpc>
            </a:pPr>
            <a:r>
              <a:rPr lang="en-US" dirty="0"/>
              <a:t>Characteristics: Ancient culture in the South, international trade exchange.</a:t>
            </a:r>
            <a:endParaRPr lang="en-US" dirty="0">
              <a:solidFill>
                <a:srgbClr val="333333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5DFB191-8341-C97C-CA5A-683397FD5E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Oc</a:t>
            </a:r>
            <a:r>
              <a:rPr lang="en-US" dirty="0"/>
              <a:t> </a:t>
            </a:r>
            <a:r>
              <a:rPr lang="en-US" dirty="0" err="1"/>
              <a:t>Eo</a:t>
            </a:r>
            <a:r>
              <a:rPr lang="en-US" dirty="0"/>
              <a:t> cultu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7DE26B0-9F5A-A5E7-436C-08D230D1D55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285272"/>
            <a:ext cx="4763637" cy="357272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ED23FCB-9CEB-2FB4-E057-4CFDDB6E7E8A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16991"/>
          <a:stretch>
            <a:fillRect/>
          </a:stretch>
        </p:blipFill>
        <p:spPr>
          <a:xfrm>
            <a:off x="4976036" y="3285272"/>
            <a:ext cx="3954247" cy="357272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BAF9D83-82B9-C69E-0652-DE8CFDDE329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42682" y="3285272"/>
            <a:ext cx="4763637" cy="357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4775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818451F-DE2B-B8D1-E7DA-DF54F2094E8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63DC8AC8-3EE6-0346-C3D1-617A95A52B2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>
                <a:solidFill>
                  <a:srgbClr val="C00000"/>
                </a:solidFill>
              </a:rPr>
              <a:t>bbv Software Services AG  |  </a:t>
            </a:r>
            <a:r>
              <a:rPr lang="en-CH" dirty="0">
                <a:solidFill>
                  <a:srgbClr val="C00000"/>
                </a:solidFill>
              </a:rPr>
              <a:t>Date</a:t>
            </a:r>
            <a:endParaRPr lang="en-GB" dirty="0">
              <a:solidFill>
                <a:srgbClr val="C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4A268C-5455-5620-C433-3CCEA88828C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vi-VN" dirty="0">
                <a:solidFill>
                  <a:srgbClr val="C00000"/>
                </a:solidFill>
              </a:rPr>
              <a:t>Y</a:t>
            </a:r>
            <a:r>
              <a:rPr lang="en-US" dirty="0">
                <a:solidFill>
                  <a:srgbClr val="C00000"/>
                </a:solidFill>
              </a:rPr>
              <a:t>PP</a:t>
            </a:r>
            <a:r>
              <a:rPr lang="vi-VN" dirty="0">
                <a:solidFill>
                  <a:srgbClr val="C00000"/>
                </a:solidFill>
              </a:rPr>
              <a:t> 4</a:t>
            </a:r>
            <a:r>
              <a:rPr lang="en-US" dirty="0" err="1">
                <a:solidFill>
                  <a:srgbClr val="C00000"/>
                </a:solidFill>
              </a:rPr>
              <a:t>th</a:t>
            </a:r>
            <a:endParaRPr lang="en-GB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5570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6C0675-6FCC-6E1F-24F5-C651AC9DFA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26CA55A-820F-065C-6929-40E91DFF744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98082" y="1098000"/>
            <a:ext cx="8860858" cy="1017879"/>
          </a:xfrm>
        </p:spPr>
        <p:txBody>
          <a:bodyPr/>
          <a:lstStyle/>
          <a:p>
            <a:pPr marL="620411" lvl="1" indent="-285750">
              <a:lnSpc>
                <a:spcPct val="100000"/>
              </a:lnSpc>
            </a:pPr>
            <a:r>
              <a:rPr lang="en-US" dirty="0"/>
              <a:t>Characteristics: Khmer art, Angkor heritage influence the Southern region..</a:t>
            </a:r>
            <a:endParaRPr lang="en-US" dirty="0">
              <a:solidFill>
                <a:srgbClr val="333333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4218A1C-33A4-A99A-F7F6-C6A99AE264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ne carvings of Cambodia</a:t>
            </a:r>
          </a:p>
        </p:txBody>
      </p:sp>
    </p:spTree>
    <p:extLst>
      <p:ext uri="{BB962C8B-B14F-4D97-AF65-F5344CB8AC3E}">
        <p14:creationId xmlns:p14="http://schemas.microsoft.com/office/powerpoint/2010/main" val="3918067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308ABC-2D02-75C1-F101-A60D896236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9978E3A-90DA-D1C6-6AFA-F9AB7D02386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98082" y="1098000"/>
            <a:ext cx="8860858" cy="1017879"/>
          </a:xfrm>
        </p:spPr>
        <p:txBody>
          <a:bodyPr/>
          <a:lstStyle/>
          <a:p>
            <a:pPr marL="620411" lvl="1" indent="-285750">
              <a:lnSpc>
                <a:spcPct val="100000"/>
              </a:lnSpc>
            </a:pPr>
            <a:r>
              <a:rPr lang="en-US" dirty="0"/>
              <a:t>Characteristics: Vietnamese ceramics on international trade routes.</a:t>
            </a:r>
            <a:endParaRPr lang="en-US" dirty="0">
              <a:solidFill>
                <a:srgbClr val="333333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9CD64DD-E02E-D92B-22E4-27F4C665F9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ritime trades – Shipwrecked ceramics</a:t>
            </a:r>
          </a:p>
        </p:txBody>
      </p:sp>
    </p:spTree>
    <p:extLst>
      <p:ext uri="{BB962C8B-B14F-4D97-AF65-F5344CB8AC3E}">
        <p14:creationId xmlns:p14="http://schemas.microsoft.com/office/powerpoint/2010/main" val="2242949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BCA325-1239-2C67-B211-36CA374D65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B475F9E-1EE4-3BEC-DB78-7FF043DD3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98082" y="1098000"/>
            <a:ext cx="8860858" cy="1017879"/>
          </a:xfrm>
        </p:spPr>
        <p:txBody>
          <a:bodyPr/>
          <a:lstStyle/>
          <a:p>
            <a:pPr marL="620411" lvl="1" indent="-285750">
              <a:lnSpc>
                <a:spcPct val="100000"/>
              </a:lnSpc>
            </a:pPr>
            <a:r>
              <a:rPr lang="en-US" dirty="0"/>
              <a:t>Characteristics: Khmer, flower and Cham culture in the South.</a:t>
            </a:r>
            <a:endParaRPr lang="en-US" dirty="0">
              <a:solidFill>
                <a:srgbClr val="333333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88E3D40-E9E2-3E63-066A-06330F931F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nority cultures from Southern provinc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B6FA2DF-DF33-DDA3-0779-B36BE46F37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484821"/>
            <a:ext cx="4497572" cy="337317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743DE29-0CE2-4E89-9BD1-26DDF92A770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10086" r="6619"/>
          <a:stretch>
            <a:fillRect/>
          </a:stretch>
        </p:blipFill>
        <p:spPr>
          <a:xfrm>
            <a:off x="4953001" y="3484820"/>
            <a:ext cx="3746204" cy="337317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AF0156A-EED1-12B4-4B36-FC2745FB0787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15761" r="16706"/>
          <a:stretch>
            <a:fillRect/>
          </a:stretch>
        </p:blipFill>
        <p:spPr>
          <a:xfrm>
            <a:off x="9154634" y="3484821"/>
            <a:ext cx="3037366" cy="3373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5688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383D05-FDFE-0D2C-778B-F422B94C0C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A0249D8-CEBB-D1C7-7977-8762A0247BC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98082" y="1098000"/>
            <a:ext cx="8860858" cy="1017879"/>
          </a:xfrm>
        </p:spPr>
        <p:txBody>
          <a:bodyPr/>
          <a:lstStyle/>
          <a:p>
            <a:pPr marL="620411" lvl="1" indent="-285750">
              <a:lnSpc>
                <a:spcPct val="100000"/>
              </a:lnSpc>
            </a:pPr>
            <a:r>
              <a:rPr lang="en-US" dirty="0"/>
              <a:t>Characteristics: Regional Buddhist art, Vietnamese culture influence.</a:t>
            </a:r>
            <a:endParaRPr lang="en-US" dirty="0">
              <a:solidFill>
                <a:srgbClr val="333333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EB9CB91-C867-77DC-3053-1459942537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ddhist Statues of Asian countries</a:t>
            </a:r>
          </a:p>
        </p:txBody>
      </p:sp>
    </p:spTree>
    <p:extLst>
      <p:ext uri="{BB962C8B-B14F-4D97-AF65-F5344CB8AC3E}">
        <p14:creationId xmlns:p14="http://schemas.microsoft.com/office/powerpoint/2010/main" val="4234443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34B5AF-312F-706B-CC9E-EF166CBBAF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EA468AA-5ED7-0DB3-A681-369A7EC80E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342900" indent="-342900"/>
            <a:r>
              <a:rPr lang="en-US" noProof="1">
                <a:cs typeface="Segoe UI Semibold" panose="020B0702040204020203" pitchFamily="34" charset="0"/>
              </a:rPr>
              <a:t>Collections</a:t>
            </a:r>
            <a:endParaRPr lang="en-US" noProof="1">
              <a:latin typeface="+mn-lt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974787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CFC665-6E23-1D1E-A2B4-BB9ADB9677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684C3AF-4061-BA16-9E8D-C662CD94F56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98082" y="1098000"/>
            <a:ext cx="8860858" cy="1017879"/>
          </a:xfrm>
        </p:spPr>
        <p:txBody>
          <a:bodyPr/>
          <a:lstStyle/>
          <a:p>
            <a:pPr marL="620411" lvl="1" indent="-285750">
              <a:lnSpc>
                <a:spcPct val="100000"/>
              </a:lnSpc>
            </a:pPr>
            <a:r>
              <a:rPr lang="en-US" dirty="0">
                <a:solidFill>
                  <a:srgbClr val="333333"/>
                </a:solidFill>
                <a:ea typeface="Arial"/>
                <a:cs typeface="Arial"/>
                <a:sym typeface="Arial"/>
              </a:rPr>
              <a:t>Time: </a:t>
            </a:r>
            <a:r>
              <a:rPr lang="en-US" dirty="0"/>
              <a:t>17th – 19th century</a:t>
            </a:r>
            <a:endParaRPr lang="en-US" dirty="0">
              <a:solidFill>
                <a:srgbClr val="333333"/>
              </a:solidFill>
              <a:ea typeface="Arial"/>
              <a:cs typeface="Arial"/>
              <a:sym typeface="Arial"/>
            </a:endParaRPr>
          </a:p>
          <a:p>
            <a:pPr marL="620411" lvl="1" indent="-285750">
              <a:lnSpc>
                <a:spcPct val="100000"/>
              </a:lnSpc>
            </a:pPr>
            <a:r>
              <a:rPr lang="en-US" dirty="0"/>
              <a:t>Characteristics: Gun from the Nguyen Dynasty </a:t>
            </a:r>
            <a:endParaRPr lang="en-US" dirty="0">
              <a:solidFill>
                <a:srgbClr val="333333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DEE7DD0-0A2B-90E6-9153-D7E4B4E324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Cannon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74946F4-50FF-4426-3B62-47EE3133B12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15142"/>
          <a:stretch>
            <a:fillRect/>
          </a:stretch>
        </p:blipFill>
        <p:spPr>
          <a:xfrm>
            <a:off x="1" y="2953004"/>
            <a:ext cx="2485254" cy="390499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8D04363-941E-0E1F-A365-0A76E9A6B3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83549" y="2953004"/>
            <a:ext cx="5206659" cy="390499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E7CCFE1-454D-1C43-82EA-ACC368576F1C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31048"/>
          <a:stretch>
            <a:fillRect/>
          </a:stretch>
        </p:blipFill>
        <p:spPr>
          <a:xfrm>
            <a:off x="8601879" y="2953005"/>
            <a:ext cx="3590121" cy="3904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1095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9A94C6-FCBD-2E6F-4E1C-DE9B010AC1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DE42407-5FC5-AEFD-1034-63BBABC30B6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98082" y="1098000"/>
            <a:ext cx="8860858" cy="1017879"/>
          </a:xfrm>
        </p:spPr>
        <p:txBody>
          <a:bodyPr/>
          <a:lstStyle/>
          <a:p>
            <a:pPr marL="620411" lvl="1" indent="-285750">
              <a:lnSpc>
                <a:spcPct val="100000"/>
              </a:lnSpc>
            </a:pPr>
            <a:r>
              <a:rPr lang="en-US" dirty="0"/>
              <a:t>Characteristics: Including many different periods from prehistoric times to the Nguyen Dynasty</a:t>
            </a:r>
            <a:endParaRPr lang="en-US" dirty="0">
              <a:solidFill>
                <a:srgbClr val="333333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E9E8EFF-E6B7-8D45-D0CD-9DF4806655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uong Ha Collectio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2E42E2C-C12C-E638-1296-BC39573E92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120065"/>
            <a:ext cx="2803451" cy="37379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CED17F7-C305-3E4B-45F0-BEB8A9276E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87750" y="3120065"/>
            <a:ext cx="4983913" cy="373793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A9AE81B-B49F-6F61-2A4C-B51D88285AD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60689" y="3120064"/>
            <a:ext cx="4983913" cy="3737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4120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A27732-D8F8-77D0-7056-6A7A28E4B6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F9AE3EE-07C5-4ECA-DAC3-42AB2C3BA6E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98082" y="1098000"/>
            <a:ext cx="9562606" cy="1017879"/>
          </a:xfrm>
        </p:spPr>
        <p:txBody>
          <a:bodyPr/>
          <a:lstStyle/>
          <a:p>
            <a:pPr marL="620411" lvl="1" indent="-285750">
              <a:lnSpc>
                <a:spcPct val="100000"/>
              </a:lnSpc>
            </a:pPr>
            <a:r>
              <a:rPr lang="en-US" dirty="0"/>
              <a:t>Characteristics: Including antiques, ceramics, folklore from many historical periods</a:t>
            </a:r>
            <a:endParaRPr lang="en-US" dirty="0">
              <a:solidFill>
                <a:srgbClr val="333333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7C6510F-E7CA-D43D-F96E-4EAA5EB871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uong Hong Sen Collection</a:t>
            </a:r>
          </a:p>
        </p:txBody>
      </p:sp>
    </p:spTree>
    <p:extLst>
      <p:ext uri="{BB962C8B-B14F-4D97-AF65-F5344CB8AC3E}">
        <p14:creationId xmlns:p14="http://schemas.microsoft.com/office/powerpoint/2010/main" val="1442594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9CF7ED-BD3D-4D55-41DD-063B620335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BE515D7-C81E-D66A-5FAF-9D75581BFAC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98081" y="1098000"/>
            <a:ext cx="11178755" cy="1017879"/>
          </a:xfrm>
        </p:spPr>
        <p:txBody>
          <a:bodyPr/>
          <a:lstStyle/>
          <a:p>
            <a:pPr marL="620411" lvl="1" indent="-285750">
              <a:lnSpc>
                <a:spcPct val="100000"/>
              </a:lnSpc>
            </a:pPr>
            <a:r>
              <a:rPr lang="en-US" dirty="0"/>
              <a:t>Characteristics: Temporary exhibition, change by topic, not associated with a specific historical period</a:t>
            </a:r>
            <a:endParaRPr lang="en-US" dirty="0">
              <a:solidFill>
                <a:srgbClr val="333333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25FB510-FEFC-01A1-7E87-1CEFF6D3DA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mporary Exhibitio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89068F7-0DAC-3827-5D96-0C484D962A3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6279" r="5349"/>
          <a:stretch>
            <a:fillRect/>
          </a:stretch>
        </p:blipFill>
        <p:spPr>
          <a:xfrm>
            <a:off x="0" y="3429000"/>
            <a:ext cx="4040373" cy="3429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C21B437-BDB2-411B-0F96-A43F8EA69A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44311" y="3429000"/>
            <a:ext cx="4572000" cy="3429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707664D-F4CF-155E-5999-D0F23689AB2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20250" y="3429000"/>
            <a:ext cx="2571750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451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9" name="Google Shape;899;p11"/>
          <p:cNvSpPr/>
          <p:nvPr/>
        </p:nvSpPr>
        <p:spPr>
          <a:xfrm>
            <a:off x="0" y="1098000"/>
            <a:ext cx="12192000" cy="1098000"/>
          </a:xfrm>
          <a:prstGeom prst="rect">
            <a:avLst/>
          </a:prstGeom>
          <a:gradFill>
            <a:gsLst>
              <a:gs pos="0">
                <a:srgbClr val="878789"/>
              </a:gs>
              <a:gs pos="50000">
                <a:srgbClr val="C4C4C6"/>
              </a:gs>
              <a:gs pos="100000">
                <a:srgbClr val="EBEBED"/>
              </a:gs>
            </a:gsLst>
            <a:lin ang="10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00" name="Google Shape;900;p11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noProof="1"/>
              <a:t>Intern | Vo Tran Quang Thong</a:t>
            </a:r>
          </a:p>
        </p:txBody>
      </p:sp>
      <p:sp>
        <p:nvSpPr>
          <p:cNvPr id="901" name="Google Shape;901;p1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Q&amp;A</a:t>
            </a:r>
          </a:p>
        </p:txBody>
      </p:sp>
      <p:pic>
        <p:nvPicPr>
          <p:cNvPr id="902" name="Google Shape;902;p11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l="36770" r="36769"/>
          <a:stretch/>
        </p:blipFill>
        <p:spPr>
          <a:xfrm>
            <a:off x="8128000" y="1098550"/>
            <a:ext cx="4064000" cy="575945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  <p:sp>
        <p:nvSpPr>
          <p:cNvPr id="903" name="Google Shape;903;p11"/>
          <p:cNvSpPr txBox="1">
            <a:spLocks noGrp="1"/>
          </p:cNvSpPr>
          <p:nvPr>
            <p:ph type="body" idx="3"/>
          </p:nvPr>
        </p:nvSpPr>
        <p:spPr>
          <a:xfrm>
            <a:off x="431999" y="1098550"/>
            <a:ext cx="7263999" cy="7071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400"/>
              <a:buNone/>
            </a:pPr>
            <a:r>
              <a:rPr lang="en-US" sz="4400" noProof="1">
                <a:solidFill>
                  <a:schemeClr val="dk2"/>
                </a:solidFill>
              </a:rPr>
              <a:t>Thank you</a:t>
            </a:r>
            <a:endParaRPr lang="en-US" noProof="1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400"/>
              <a:buNone/>
            </a:pPr>
            <a:endParaRPr lang="en-US" sz="4400" noProof="1">
              <a:solidFill>
                <a:schemeClr val="dk2"/>
              </a:solidFill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BBE1C08-AA88-72BB-AF71-C57753F3F3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BBE1C08-AA88-72BB-AF71-C57753F3F3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3B458723-F8F0-9DEE-EB70-04F588D700D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t="26389" b="26389"/>
          <a:stretch/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A02ED5A7-572B-82DF-E867-D87AF7CFD77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>
                <a:solidFill>
                  <a:srgbClr val="C00000"/>
                </a:solidFill>
              </a:rPr>
              <a:t>bbv Software Services AG  |  </a:t>
            </a:r>
            <a:r>
              <a:rPr lang="en-CH" noProof="0" dirty="0">
                <a:solidFill>
                  <a:srgbClr val="C00000"/>
                </a:solidFill>
              </a:rPr>
              <a:t>Date</a:t>
            </a:r>
            <a:r>
              <a:rPr lang="en-US" noProof="0" dirty="0">
                <a:solidFill>
                  <a:srgbClr val="C00000"/>
                </a:solidFill>
              </a:rPr>
              <a:t>: 08/05/2025</a:t>
            </a:r>
            <a:endParaRPr lang="en-GB" noProof="0" dirty="0">
              <a:solidFill>
                <a:srgbClr val="C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A50645-4898-AAC6-F648-5D00E1663EE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CH" noProof="0" dirty="0">
                <a:solidFill>
                  <a:srgbClr val="C00000"/>
                </a:solidFill>
              </a:rPr>
              <a:t>Presentation on </a:t>
            </a:r>
            <a:r>
              <a:rPr lang="en-US" dirty="0">
                <a:solidFill>
                  <a:srgbClr val="C00000"/>
                </a:solidFill>
              </a:rPr>
              <a:t>Ho Chi Minh City Museum of History</a:t>
            </a:r>
            <a:endParaRPr lang="en-GB" noProof="0" dirty="0">
              <a:solidFill>
                <a:srgbClr val="C00000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C76990F-B249-6611-0800-1DA433F97A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CH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EC3FBF0-6FE4-4ED5-97F7-BC43A1D2912A}"/>
              </a:ext>
            </a:extLst>
          </p:cNvPr>
          <p:cNvGrpSpPr/>
          <p:nvPr/>
        </p:nvGrpSpPr>
        <p:grpSpPr>
          <a:xfrm>
            <a:off x="9595831" y="2346866"/>
            <a:ext cx="1736339" cy="526268"/>
            <a:chOff x="8343600" y="2412129"/>
            <a:chExt cx="2315118" cy="701691"/>
          </a:xfrm>
        </p:grpSpPr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50A1A25B-D699-C973-F9E8-41E61746C36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343600" y="2412129"/>
              <a:ext cx="1954171" cy="360000"/>
            </a:xfrm>
            <a:prstGeom prst="rect">
              <a:avLst/>
            </a:prstGeom>
          </p:spPr>
        </p:pic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E80F7C00-B899-BC79-5218-8DD951C055F2}"/>
                </a:ext>
              </a:extLst>
            </p:cNvPr>
            <p:cNvGrpSpPr/>
            <p:nvPr/>
          </p:nvGrpSpPr>
          <p:grpSpPr>
            <a:xfrm>
              <a:off x="8343600" y="2915820"/>
              <a:ext cx="2315118" cy="198000"/>
              <a:chOff x="8343600" y="2903749"/>
              <a:chExt cx="2315118" cy="198000"/>
            </a:xfrm>
          </p:grpSpPr>
          <p:pic>
            <p:nvPicPr>
              <p:cNvPr id="16" name="Graphic 15">
                <a:extLst>
                  <a:ext uri="{FF2B5EF4-FFF2-40B4-BE49-F238E27FC236}">
                    <a16:creationId xmlns:a16="http://schemas.microsoft.com/office/drawing/2014/main" id="{88E55AF8-2654-F41B-C4A1-D490B9B589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9124668" y="2914533"/>
                <a:ext cx="1534050" cy="180000"/>
              </a:xfrm>
              <a:prstGeom prst="rect">
                <a:avLst/>
              </a:prstGeom>
            </p:spPr>
          </p:pic>
          <p:pic>
            <p:nvPicPr>
              <p:cNvPr id="17" name="Graphic 16">
                <a:extLst>
                  <a:ext uri="{FF2B5EF4-FFF2-40B4-BE49-F238E27FC236}">
                    <a16:creationId xmlns:a16="http://schemas.microsoft.com/office/drawing/2014/main" id="{57BBDFB2-E80D-449C-2D7B-F4BAB3531D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8343600" y="2903749"/>
                <a:ext cx="565068" cy="1980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185713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4" name="Google Shape;914;p13"/>
          <p:cNvSpPr/>
          <p:nvPr/>
        </p:nvSpPr>
        <p:spPr>
          <a:xfrm>
            <a:off x="431998" y="1098550"/>
            <a:ext cx="11329789" cy="5329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15" name="Google Shape;915;p1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template EN</a:t>
            </a:r>
          </a:p>
        </p:txBody>
      </p:sp>
      <p:sp>
        <p:nvSpPr>
          <p:cNvPr id="916" name="Google Shape;916;p13"/>
          <p:cNvSpPr txBox="1"/>
          <p:nvPr/>
        </p:nvSpPr>
        <p:spPr>
          <a:xfrm>
            <a:off x="864000" y="4246162"/>
            <a:ext cx="10468800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Arial"/>
              <a:buNone/>
            </a:pPr>
            <a:r>
              <a:rPr lang="en-US" sz="48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ow-to guides</a:t>
            </a:r>
            <a:endParaRPr lang="en-US" noProof="1"/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2" name="Google Shape;922;p14"/>
          <p:cNvGrpSpPr/>
          <p:nvPr/>
        </p:nvGrpSpPr>
        <p:grpSpPr>
          <a:xfrm>
            <a:off x="3929620" y="1744763"/>
            <a:ext cx="4932000" cy="4680000"/>
            <a:chOff x="3166213" y="1744763"/>
            <a:chExt cx="4932000" cy="4680000"/>
          </a:xfrm>
        </p:grpSpPr>
        <p:sp>
          <p:nvSpPr>
            <p:cNvPr id="923" name="Google Shape;923;p14"/>
            <p:cNvSpPr/>
            <p:nvPr/>
          </p:nvSpPr>
          <p:spPr>
            <a:xfrm>
              <a:off x="3166213" y="1744763"/>
              <a:ext cx="4932000" cy="4680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24" name="Google Shape;924;p14"/>
            <p:cNvSpPr/>
            <p:nvPr/>
          </p:nvSpPr>
          <p:spPr>
            <a:xfrm>
              <a:off x="3262983" y="1845121"/>
              <a:ext cx="4738461" cy="4479284"/>
            </a:xfrm>
            <a:prstGeom prst="rect">
              <a:avLst/>
            </a:prstGeom>
            <a:solidFill>
              <a:srgbClr val="ECECE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25" name="Google Shape;925;p14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3383979" y="1960763"/>
              <a:ext cx="4496469" cy="424800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26" name="Google Shape;926;p1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Master layouts &amp; slide library</a:t>
            </a:r>
          </a:p>
        </p:txBody>
      </p:sp>
      <p:sp>
        <p:nvSpPr>
          <p:cNvPr id="927" name="Google Shape;927;p14"/>
          <p:cNvSpPr txBox="1"/>
          <p:nvPr/>
        </p:nvSpPr>
        <p:spPr>
          <a:xfrm>
            <a:off x="428626" y="1530000"/>
            <a:ext cx="1692000" cy="4897788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44000" tIns="144000" rIns="96000" bIns="192000" anchor="t" anchorCtr="0">
            <a:noAutofit/>
          </a:bodyPr>
          <a:lstStyle/>
          <a:p>
            <a: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100"/>
              <a:buFont typeface="Arial"/>
              <a:buNone/>
            </a:pPr>
            <a:r>
              <a:rPr lang="en-US" sz="2100" b="1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nsert new slide</a:t>
            </a:r>
            <a:endParaRPr lang="en-US" noProof="1"/>
          </a:p>
        </p:txBody>
      </p:sp>
      <p:sp>
        <p:nvSpPr>
          <p:cNvPr id="928" name="Google Shape;928;p14"/>
          <p:cNvSpPr/>
          <p:nvPr/>
        </p:nvSpPr>
        <p:spPr>
          <a:xfrm>
            <a:off x="9313788" y="1744763"/>
            <a:ext cx="2448000" cy="90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on «New Slide»</a:t>
            </a:r>
            <a:endParaRPr lang="en-US" noProof="1"/>
          </a:p>
        </p:txBody>
      </p:sp>
      <p:sp>
        <p:nvSpPr>
          <p:cNvPr id="929" name="Google Shape;929;p14"/>
          <p:cNvSpPr/>
          <p:nvPr/>
        </p:nvSpPr>
        <p:spPr>
          <a:xfrm>
            <a:off x="10321788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lang="en-US" noProof="1"/>
          </a:p>
        </p:txBody>
      </p:sp>
      <p:sp>
        <p:nvSpPr>
          <p:cNvPr id="930" name="Google Shape;930;p14"/>
          <p:cNvSpPr/>
          <p:nvPr/>
        </p:nvSpPr>
        <p:spPr>
          <a:xfrm>
            <a:off x="9313788" y="3037087"/>
            <a:ext cx="2448000" cy="172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layout</a:t>
            </a:r>
            <a:endParaRPr lang="en-US" noProof="1"/>
          </a:p>
          <a:p>
            <a:pPr marL="0" marR="0" lvl="0" indent="0" algn="ctr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oose the desired layout from the pre-programmed master layouts.</a:t>
            </a:r>
            <a:endParaRPr lang="en-US" noProof="1"/>
          </a:p>
        </p:txBody>
      </p:sp>
      <p:sp>
        <p:nvSpPr>
          <p:cNvPr id="931" name="Google Shape;931;p14"/>
          <p:cNvSpPr/>
          <p:nvPr/>
        </p:nvSpPr>
        <p:spPr>
          <a:xfrm>
            <a:off x="10321788" y="2821087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lang="en-US" noProof="1"/>
          </a:p>
        </p:txBody>
      </p:sp>
      <p:sp>
        <p:nvSpPr>
          <p:cNvPr id="932" name="Google Shape;932;p14"/>
          <p:cNvSpPr/>
          <p:nvPr/>
        </p:nvSpPr>
        <p:spPr>
          <a:xfrm>
            <a:off x="9313788" y="5163295"/>
            <a:ext cx="2448000" cy="126449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r select layout from slide library</a:t>
            </a:r>
            <a:endParaRPr lang="en-US" noProof="1"/>
          </a:p>
        </p:txBody>
      </p:sp>
      <p:sp>
        <p:nvSpPr>
          <p:cNvPr id="933" name="Google Shape;933;p14"/>
          <p:cNvSpPr/>
          <p:nvPr/>
        </p:nvSpPr>
        <p:spPr>
          <a:xfrm>
            <a:off x="10321788" y="4947295"/>
            <a:ext cx="432000" cy="432000"/>
          </a:xfrm>
          <a:prstGeom prst="ellipse">
            <a:avLst/>
          </a:prstGeom>
          <a:solidFill>
            <a:srgbClr val="F5AD33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🡪</a:t>
            </a:r>
          </a:p>
        </p:txBody>
      </p:sp>
      <p:cxnSp>
        <p:nvCxnSpPr>
          <p:cNvPr id="934" name="Google Shape;934;p14"/>
          <p:cNvCxnSpPr/>
          <p:nvPr/>
        </p:nvCxnSpPr>
        <p:spPr>
          <a:xfrm rot="10800000">
            <a:off x="3025123" y="4015522"/>
            <a:ext cx="8280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triangle" w="med" len="med"/>
            <a:tailEnd type="none" w="sm" len="sm"/>
          </a:ln>
        </p:spPr>
      </p:cxnSp>
      <p:cxnSp>
        <p:nvCxnSpPr>
          <p:cNvPr id="935" name="Google Shape;935;p14"/>
          <p:cNvCxnSpPr/>
          <p:nvPr/>
        </p:nvCxnSpPr>
        <p:spPr>
          <a:xfrm rot="10800000">
            <a:off x="3025123" y="3612089"/>
            <a:ext cx="0" cy="806866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grpSp>
        <p:nvGrpSpPr>
          <p:cNvPr id="936" name="Google Shape;936;p14"/>
          <p:cNvGrpSpPr/>
          <p:nvPr/>
        </p:nvGrpSpPr>
        <p:grpSpPr>
          <a:xfrm>
            <a:off x="2284793" y="2235503"/>
            <a:ext cx="1480660" cy="1376586"/>
            <a:chOff x="3710656" y="1233493"/>
            <a:chExt cx="1480660" cy="1376586"/>
          </a:xfrm>
        </p:grpSpPr>
        <p:sp>
          <p:nvSpPr>
            <p:cNvPr id="937" name="Google Shape;937;p14"/>
            <p:cNvSpPr/>
            <p:nvPr/>
          </p:nvSpPr>
          <p:spPr>
            <a:xfrm>
              <a:off x="3710656" y="1233493"/>
              <a:ext cx="1480660" cy="137658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938" name="Google Shape;938;p14"/>
            <p:cNvGrpSpPr/>
            <p:nvPr/>
          </p:nvGrpSpPr>
          <p:grpSpPr>
            <a:xfrm>
              <a:off x="3806711" y="1327786"/>
              <a:ext cx="1282285" cy="1188000"/>
              <a:chOff x="2276093" y="1317468"/>
              <a:chExt cx="1282285" cy="1188000"/>
            </a:xfrm>
          </p:grpSpPr>
          <p:pic>
            <p:nvPicPr>
              <p:cNvPr id="939" name="Google Shape;939;p14"/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2276093" y="1317468"/>
                <a:ext cx="1282285" cy="1188000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940" name="Google Shape;940;p14"/>
              <p:cNvSpPr/>
              <p:nvPr/>
            </p:nvSpPr>
            <p:spPr>
              <a:xfrm>
                <a:off x="2295919" y="1628800"/>
                <a:ext cx="468000" cy="720000"/>
              </a:xfrm>
              <a:prstGeom prst="rect">
                <a:avLst/>
              </a:prstGeom>
              <a:solidFill>
                <a:srgbClr val="F8C166">
                  <a:alpha val="18431"/>
                </a:srgbClr>
              </a:solidFill>
              <a:ln w="28575" cap="flat" cmpd="sng">
                <a:solidFill>
                  <a:srgbClr val="F398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1800"/>
                  <a:buFont typeface="Arial"/>
                  <a:buNone/>
                </a:pPr>
                <a:endParaRPr lang="en-US" sz="1800" b="0" i="0" u="none" strike="noStrike" cap="none" noProof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41" name="Google Shape;941;p14"/>
              <p:cNvSpPr/>
              <p:nvPr/>
            </p:nvSpPr>
            <p:spPr>
              <a:xfrm>
                <a:off x="2720799" y="1841269"/>
                <a:ext cx="295062" cy="295062"/>
              </a:xfrm>
              <a:prstGeom prst="ellipse">
                <a:avLst/>
              </a:prstGeom>
              <a:solidFill>
                <a:schemeClr val="dk2"/>
              </a:solidFill>
              <a:ln w="38100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1200"/>
                  <a:buFont typeface="Arial"/>
                  <a:buNone/>
                </a:pPr>
                <a:r>
                  <a:rPr lang="en-US" sz="1200" b="1" i="0" u="none" strike="noStrike" cap="none" noProof="1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lang="en-US" noProof="1"/>
              </a:p>
            </p:txBody>
          </p:sp>
        </p:grpSp>
      </p:grpSp>
      <p:grpSp>
        <p:nvGrpSpPr>
          <p:cNvPr id="942" name="Google Shape;942;p14"/>
          <p:cNvGrpSpPr/>
          <p:nvPr/>
        </p:nvGrpSpPr>
        <p:grpSpPr>
          <a:xfrm>
            <a:off x="2284793" y="4418955"/>
            <a:ext cx="1480660" cy="1376586"/>
            <a:chOff x="5496573" y="1233493"/>
            <a:chExt cx="1480660" cy="1376586"/>
          </a:xfrm>
        </p:grpSpPr>
        <p:sp>
          <p:nvSpPr>
            <p:cNvPr id="943" name="Google Shape;943;p14"/>
            <p:cNvSpPr/>
            <p:nvPr/>
          </p:nvSpPr>
          <p:spPr>
            <a:xfrm>
              <a:off x="5496573" y="1233493"/>
              <a:ext cx="1480660" cy="137658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944" name="Google Shape;944;p14"/>
            <p:cNvGrpSpPr/>
            <p:nvPr/>
          </p:nvGrpSpPr>
          <p:grpSpPr>
            <a:xfrm>
              <a:off x="5592628" y="1327786"/>
              <a:ext cx="1282285" cy="1188000"/>
              <a:chOff x="5592628" y="1327786"/>
              <a:chExt cx="1282285" cy="1188000"/>
            </a:xfrm>
          </p:grpSpPr>
          <p:pic>
            <p:nvPicPr>
              <p:cNvPr id="945" name="Google Shape;945;p14"/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5592628" y="1327786"/>
                <a:ext cx="1282285" cy="1188000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946" name="Google Shape;946;p14"/>
              <p:cNvSpPr/>
              <p:nvPr/>
            </p:nvSpPr>
            <p:spPr>
              <a:xfrm>
                <a:off x="6037334" y="1628189"/>
                <a:ext cx="744012" cy="240684"/>
              </a:xfrm>
              <a:prstGeom prst="rect">
                <a:avLst/>
              </a:prstGeom>
              <a:solidFill>
                <a:srgbClr val="F8C166">
                  <a:alpha val="18431"/>
                </a:srgbClr>
              </a:solidFill>
              <a:ln w="28575" cap="flat" cmpd="sng">
                <a:solidFill>
                  <a:srgbClr val="F398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1800"/>
                  <a:buFont typeface="Arial"/>
                  <a:buNone/>
                </a:pPr>
                <a:endParaRPr lang="en-US" sz="1800" b="0" i="0" u="none" strike="noStrike" cap="none" noProof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47" name="Google Shape;947;p14"/>
              <p:cNvSpPr/>
              <p:nvPr/>
            </p:nvSpPr>
            <p:spPr>
              <a:xfrm>
                <a:off x="6447503" y="1840316"/>
                <a:ext cx="295062" cy="295062"/>
              </a:xfrm>
              <a:prstGeom prst="ellipse">
                <a:avLst/>
              </a:prstGeom>
              <a:solidFill>
                <a:schemeClr val="dk2"/>
              </a:solidFill>
              <a:ln w="38100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1200"/>
                  <a:buFont typeface="Arial"/>
                  <a:buNone/>
                </a:pPr>
                <a:r>
                  <a:rPr lang="en-US" sz="1200" b="1" i="0" u="none" strike="noStrike" cap="none" noProof="1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</a:t>
                </a:r>
                <a:endParaRPr lang="en-US" noProof="1"/>
              </a:p>
            </p:txBody>
          </p:sp>
        </p:grpSp>
      </p:grp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3" name="Google Shape;953;p15"/>
          <p:cNvSpPr/>
          <p:nvPr/>
        </p:nvSpPr>
        <p:spPr>
          <a:xfrm>
            <a:off x="431999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sert original slide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py slide in original presentation with Ctrl+C.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 the target presentation, select the slide after which the original slide is to be inserted.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n the tab «Home / Paste / Use Destination Theme».</a:t>
            </a:r>
            <a:endParaRPr lang="en-US" noProof="1"/>
          </a:p>
        </p:txBody>
      </p:sp>
      <p:sp>
        <p:nvSpPr>
          <p:cNvPr id="954" name="Google Shape;954;p15"/>
          <p:cNvSpPr/>
          <p:nvPr/>
        </p:nvSpPr>
        <p:spPr>
          <a:xfrm>
            <a:off x="3355376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ssign slide layout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inserted slide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desired layout in the tab «Home / Layout».</a:t>
            </a:r>
            <a:endParaRPr lang="en-US" noProof="1"/>
          </a:p>
        </p:txBody>
      </p:sp>
      <p:sp>
        <p:nvSpPr>
          <p:cNvPr id="955" name="Google Shape;955;p15"/>
          <p:cNvSpPr/>
          <p:nvPr/>
        </p:nvSpPr>
        <p:spPr>
          <a:xfrm>
            <a:off x="6278753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slide manually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eck all slide contents such as text blocks, images, etc. for position and size and manually adjust them to the new layout grid.</a:t>
            </a:r>
            <a:endParaRPr lang="en-US" noProof="1"/>
          </a:p>
        </p:txBody>
      </p:sp>
      <p:sp>
        <p:nvSpPr>
          <p:cNvPr id="956" name="Google Shape;956;p15"/>
          <p:cNvSpPr/>
          <p:nvPr/>
        </p:nvSpPr>
        <p:spPr>
          <a:xfrm>
            <a:off x="9202130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eck design</a:t>
            </a:r>
            <a:endParaRPr lang="en-US" noProof="1"/>
          </a:p>
          <a:p>
            <a:pPr marL="0" marR="0" lvl="0" indent="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dependently check: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Font type, sizes and font colours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of graphic elements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ext alignment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herence of the overall picture</a:t>
            </a:r>
            <a:endParaRPr lang="en-US" noProof="1"/>
          </a:p>
        </p:txBody>
      </p:sp>
      <p:sp>
        <p:nvSpPr>
          <p:cNvPr id="957" name="Google Shape;957;p1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10461288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Transfer of existing slides into the new Master</a:t>
            </a:r>
          </a:p>
        </p:txBody>
      </p:sp>
      <p:sp>
        <p:nvSpPr>
          <p:cNvPr id="958" name="Google Shape;958;p15"/>
          <p:cNvSpPr/>
          <p:nvPr/>
        </p:nvSpPr>
        <p:spPr>
          <a:xfrm>
            <a:off x="1493999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lang="en-US" noProof="1"/>
          </a:p>
        </p:txBody>
      </p:sp>
      <p:sp>
        <p:nvSpPr>
          <p:cNvPr id="959" name="Google Shape;959;p15"/>
          <p:cNvSpPr/>
          <p:nvPr/>
        </p:nvSpPr>
        <p:spPr>
          <a:xfrm>
            <a:off x="4417376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lang="en-US" noProof="1"/>
          </a:p>
        </p:txBody>
      </p:sp>
      <p:sp>
        <p:nvSpPr>
          <p:cNvPr id="960" name="Google Shape;960;p15"/>
          <p:cNvSpPr/>
          <p:nvPr/>
        </p:nvSpPr>
        <p:spPr>
          <a:xfrm>
            <a:off x="7340753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3</a:t>
            </a:r>
            <a:endParaRPr lang="en-US" noProof="1"/>
          </a:p>
        </p:txBody>
      </p:sp>
      <p:sp>
        <p:nvSpPr>
          <p:cNvPr id="961" name="Google Shape;961;p15"/>
          <p:cNvSpPr/>
          <p:nvPr/>
        </p:nvSpPr>
        <p:spPr>
          <a:xfrm>
            <a:off x="10264130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4</a:t>
            </a:r>
            <a:endParaRPr lang="en-US" noProof="1"/>
          </a:p>
        </p:txBody>
      </p:sp>
      <p:pic>
        <p:nvPicPr>
          <p:cNvPr id="962" name="Google Shape;962;p1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422400" y="4230000"/>
            <a:ext cx="1598065" cy="900000"/>
          </a:xfrm>
          <a:prstGeom prst="rect">
            <a:avLst/>
          </a:prstGeom>
          <a:noFill/>
          <a:ln>
            <a:noFill/>
          </a:ln>
          <a:effectLst>
            <a:outerShdw blurRad="127000" dist="127000" dir="2700000" algn="tl" rotWithShape="0">
              <a:srgbClr val="000000">
                <a:alpha val="17647"/>
              </a:srgbClr>
            </a:outerShdw>
          </a:effectLst>
        </p:spPr>
      </p:pic>
      <p:pic>
        <p:nvPicPr>
          <p:cNvPr id="963" name="Google Shape;963;p15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081200" y="5400000"/>
            <a:ext cx="1608771" cy="900000"/>
          </a:xfrm>
          <a:prstGeom prst="rect">
            <a:avLst/>
          </a:prstGeom>
          <a:noFill/>
          <a:ln>
            <a:noFill/>
          </a:ln>
          <a:effectLst>
            <a:outerShdw blurRad="127000" dist="127000" dir="2700000" algn="tl" rotWithShape="0">
              <a:srgbClr val="000000">
                <a:alpha val="17647"/>
              </a:srgbClr>
            </a:outerShdw>
          </a:effectLst>
        </p:spPr>
      </p:pic>
      <p:grpSp>
        <p:nvGrpSpPr>
          <p:cNvPr id="964" name="Google Shape;964;p15"/>
          <p:cNvGrpSpPr/>
          <p:nvPr/>
        </p:nvGrpSpPr>
        <p:grpSpPr>
          <a:xfrm>
            <a:off x="6713823" y="5249979"/>
            <a:ext cx="282196" cy="641123"/>
            <a:chOff x="1199222" y="4392591"/>
            <a:chExt cx="1140370" cy="622662"/>
          </a:xfrm>
        </p:grpSpPr>
        <p:cxnSp>
          <p:nvCxnSpPr>
            <p:cNvPr id="965" name="Google Shape;965;p15"/>
            <p:cNvCxnSpPr/>
            <p:nvPr/>
          </p:nvCxnSpPr>
          <p:spPr>
            <a:xfrm rot="10800000">
              <a:off x="1199222" y="5015253"/>
              <a:ext cx="114037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triangle" w="med" len="med"/>
              <a:tailEnd type="none" w="sm" len="sm"/>
            </a:ln>
          </p:spPr>
        </p:cxnSp>
        <p:cxnSp>
          <p:nvCxnSpPr>
            <p:cNvPr id="966" name="Google Shape;966;p15"/>
            <p:cNvCxnSpPr/>
            <p:nvPr/>
          </p:nvCxnSpPr>
          <p:spPr>
            <a:xfrm rot="10800000">
              <a:off x="1199222" y="4392591"/>
              <a:ext cx="0" cy="622662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967" name="Google Shape;967;p15"/>
          <p:cNvSpPr/>
          <p:nvPr/>
        </p:nvSpPr>
        <p:spPr>
          <a:xfrm flipH="1">
            <a:off x="9346130" y="5238000"/>
            <a:ext cx="2268000" cy="1044865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144000" tIns="144000" rIns="144000" bIns="144000" anchor="ctr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mportant:</a:t>
            </a:r>
            <a:endParaRPr lang="en-US" noProof="1"/>
          </a:p>
          <a:p>
            <a:pPr marL="0" marR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1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When transferring existing slides, always carry out all four steps.</a:t>
            </a:r>
            <a:endParaRPr lang="en-US" noProof="1"/>
          </a:p>
        </p:txBody>
      </p:sp>
      <p:grpSp>
        <p:nvGrpSpPr>
          <p:cNvPr id="968" name="Google Shape;968;p15"/>
          <p:cNvGrpSpPr/>
          <p:nvPr/>
        </p:nvGrpSpPr>
        <p:grpSpPr>
          <a:xfrm>
            <a:off x="3606866" y="3925238"/>
            <a:ext cx="2053020" cy="972000"/>
            <a:chOff x="3513767" y="4341476"/>
            <a:chExt cx="2053020" cy="972000"/>
          </a:xfrm>
        </p:grpSpPr>
        <p:sp>
          <p:nvSpPr>
            <p:cNvPr id="969" name="Google Shape;969;p15"/>
            <p:cNvSpPr/>
            <p:nvPr/>
          </p:nvSpPr>
          <p:spPr>
            <a:xfrm>
              <a:off x="3513767" y="4341476"/>
              <a:ext cx="2053020" cy="972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70" name="Google Shape;970;p15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3594278" y="4431476"/>
              <a:ext cx="1891999" cy="79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71" name="Google Shape;971;p15"/>
            <p:cNvSpPr/>
            <p:nvPr/>
          </p:nvSpPr>
          <p:spPr>
            <a:xfrm>
              <a:off x="3921135" y="4430489"/>
              <a:ext cx="454277" cy="233829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2" name="Google Shape;972;p15"/>
            <p:cNvSpPr/>
            <p:nvPr/>
          </p:nvSpPr>
          <p:spPr>
            <a:xfrm>
              <a:off x="4903596" y="4608719"/>
              <a:ext cx="555845" cy="216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973" name="Google Shape;973;p15"/>
          <p:cNvGrpSpPr/>
          <p:nvPr/>
        </p:nvGrpSpPr>
        <p:grpSpPr>
          <a:xfrm>
            <a:off x="873232" y="5143424"/>
            <a:ext cx="1673535" cy="1143411"/>
            <a:chOff x="873232" y="5143424"/>
            <a:chExt cx="1673535" cy="1143411"/>
          </a:xfrm>
        </p:grpSpPr>
        <p:sp>
          <p:nvSpPr>
            <p:cNvPr id="974" name="Google Shape;974;p15"/>
            <p:cNvSpPr/>
            <p:nvPr/>
          </p:nvSpPr>
          <p:spPr>
            <a:xfrm>
              <a:off x="873232" y="5143424"/>
              <a:ext cx="1673535" cy="114341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75" name="Google Shape;975;p15"/>
            <p:cNvPicPr preferRelativeResize="0"/>
            <p:nvPr/>
          </p:nvPicPr>
          <p:blipFill rotWithShape="1">
            <a:blip r:embed="rId6">
              <a:alphaModFix/>
            </a:blip>
            <a:srcRect r="4694"/>
            <a:stretch/>
          </p:blipFill>
          <p:spPr>
            <a:xfrm>
              <a:off x="953725" y="5229129"/>
              <a:ext cx="1512548" cy="97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76" name="Google Shape;976;p15"/>
            <p:cNvSpPr/>
            <p:nvPr/>
          </p:nvSpPr>
          <p:spPr>
            <a:xfrm>
              <a:off x="1293425" y="5223267"/>
              <a:ext cx="280170" cy="212572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7" name="Google Shape;977;p15"/>
            <p:cNvSpPr/>
            <p:nvPr/>
          </p:nvSpPr>
          <p:spPr>
            <a:xfrm>
              <a:off x="988399" y="5396588"/>
              <a:ext cx="252000" cy="432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8" name="Google Shape;978;p15"/>
            <p:cNvSpPr/>
            <p:nvPr/>
          </p:nvSpPr>
          <p:spPr>
            <a:xfrm>
              <a:off x="990967" y="5952963"/>
              <a:ext cx="216000" cy="216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4" name="Google Shape;984;p16"/>
          <p:cNvSpPr txBox="1">
            <a:spLocks noGrp="1"/>
          </p:cNvSpPr>
          <p:nvPr>
            <p:ph type="body" idx="2"/>
          </p:nvPr>
        </p:nvSpPr>
        <p:spPr>
          <a:xfrm>
            <a:off x="432000" y="1530000"/>
            <a:ext cx="5447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r>
              <a:rPr lang="en-US" noProof="1"/>
              <a:t>Approach</a:t>
            </a:r>
          </a:p>
        </p:txBody>
      </p:sp>
      <p:sp>
        <p:nvSpPr>
          <p:cNvPr id="985" name="Google Shape;985;p1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Change icon colour</a:t>
            </a:r>
          </a:p>
        </p:txBody>
      </p:sp>
      <p:sp>
        <p:nvSpPr>
          <p:cNvPr id="986" name="Google Shape;986;p16"/>
          <p:cNvSpPr txBox="1">
            <a:spLocks noGrp="1"/>
          </p:cNvSpPr>
          <p:nvPr>
            <p:ph type="body" idx="4"/>
          </p:nvPr>
        </p:nvSpPr>
        <p:spPr>
          <a:xfrm>
            <a:off x="6312000" y="1530000"/>
            <a:ext cx="5449788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r>
              <a:rPr lang="en-US" noProof="1"/>
              <a:t>Notes</a:t>
            </a:r>
          </a:p>
        </p:txBody>
      </p:sp>
      <p:sp>
        <p:nvSpPr>
          <p:cNvPr id="987" name="Google Shape;987;p16"/>
          <p:cNvSpPr txBox="1">
            <a:spLocks noGrp="1"/>
          </p:cNvSpPr>
          <p:nvPr>
            <p:ph type="body" idx="1"/>
          </p:nvPr>
        </p:nvSpPr>
        <p:spPr>
          <a:xfrm>
            <a:off x="432000" y="2160585"/>
            <a:ext cx="5447999" cy="42672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216000" tIns="180000" rIns="216000" bIns="0" anchor="t" anchorCtr="0">
            <a:noAutofit/>
          </a:bodyPr>
          <a:lstStyle/>
          <a:p>
            <a:pPr marL="34290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AutoNum type="arabicPeriod"/>
            </a:pPr>
            <a:r>
              <a:rPr lang="en-US" noProof="1"/>
              <a:t>Select icon</a:t>
            </a:r>
          </a:p>
          <a:p>
            <a:pPr marL="342900" lvl="0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Font typeface="Arial"/>
              <a:buAutoNum type="arabicPeriod"/>
            </a:pPr>
            <a:r>
              <a:rPr lang="en-US" noProof="1"/>
              <a:t>In the tab «Graphics Format» under «Graphics Styles», use </a:t>
            </a:r>
            <a:r>
              <a:rPr lang="en-US" b="1" noProof="1"/>
              <a:t>«Graphics Fill»</a:t>
            </a:r>
            <a:r>
              <a:rPr lang="en-US" noProof="1"/>
              <a:t> to change the colour</a:t>
            </a:r>
          </a:p>
        </p:txBody>
      </p:sp>
      <p:sp>
        <p:nvSpPr>
          <p:cNvPr id="988" name="Google Shape;988;p16"/>
          <p:cNvSpPr txBox="1">
            <a:spLocks noGrp="1"/>
          </p:cNvSpPr>
          <p:nvPr>
            <p:ph type="body" idx="3"/>
          </p:nvPr>
        </p:nvSpPr>
        <p:spPr>
          <a:xfrm>
            <a:off x="6312000" y="2160587"/>
            <a:ext cx="5449788" cy="42672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216000" tIns="180000" rIns="216000" bIns="0" anchor="t" anchorCtr="0">
            <a:noAutofit/>
          </a:bodyPr>
          <a:lstStyle/>
          <a:p>
            <a:pPr marL="270000" lvl="0" indent="-2700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For some icons, the colour </a:t>
            </a:r>
            <a:br>
              <a:rPr lang="en-US" noProof="1"/>
            </a:br>
            <a:r>
              <a:rPr lang="en-US" noProof="1"/>
              <a:t>can be changed by using </a:t>
            </a:r>
            <a:br>
              <a:rPr lang="en-US" noProof="1"/>
            </a:br>
            <a:r>
              <a:rPr lang="en-US" b="1" noProof="1"/>
              <a:t>«Graphics Outline»</a:t>
            </a:r>
            <a:r>
              <a:rPr lang="en-US" noProof="1"/>
              <a:t> instead </a:t>
            </a:r>
            <a:br>
              <a:rPr lang="en-US" noProof="1"/>
            </a:br>
            <a:r>
              <a:rPr lang="en-US" noProof="1"/>
              <a:t>of «Graphics Fill».</a:t>
            </a:r>
          </a:p>
          <a:p>
            <a:pPr marL="270000" lvl="0" indent="-270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The colour cannot be changed </a:t>
            </a:r>
            <a:br>
              <a:rPr lang="en-US" noProof="1"/>
            </a:br>
            <a:r>
              <a:rPr lang="en-US" noProof="1"/>
              <a:t>if an icon is inserted as a picture. </a:t>
            </a:r>
            <a:br>
              <a:rPr lang="en-US" noProof="1"/>
            </a:br>
            <a:r>
              <a:rPr lang="en-US" noProof="1"/>
              <a:t>In this case, after selecting the </a:t>
            </a:r>
            <a:br>
              <a:rPr lang="en-US" noProof="1"/>
            </a:br>
            <a:r>
              <a:rPr lang="en-US" noProof="1"/>
              <a:t>icon, the tab </a:t>
            </a:r>
            <a:r>
              <a:rPr lang="en-US" b="1" noProof="1"/>
              <a:t>«Picture Format»</a:t>
            </a:r>
            <a:r>
              <a:rPr lang="en-US" noProof="1"/>
              <a:t> </a:t>
            </a:r>
            <a:br>
              <a:rPr lang="en-US" noProof="1"/>
            </a:br>
            <a:r>
              <a:rPr lang="en-US" noProof="1"/>
              <a:t>appears instead of «Graphics Format».</a:t>
            </a:r>
          </a:p>
          <a:p>
            <a:pPr marL="270000" lvl="0" indent="-270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Best vector file format for icons: *.svg</a:t>
            </a:r>
          </a:p>
        </p:txBody>
      </p:sp>
      <p:grpSp>
        <p:nvGrpSpPr>
          <p:cNvPr id="989" name="Google Shape;989;p16"/>
          <p:cNvGrpSpPr/>
          <p:nvPr/>
        </p:nvGrpSpPr>
        <p:grpSpPr>
          <a:xfrm>
            <a:off x="743340" y="3919114"/>
            <a:ext cx="4825319" cy="1656000"/>
            <a:chOff x="743340" y="3919114"/>
            <a:chExt cx="4825319" cy="1656000"/>
          </a:xfrm>
        </p:grpSpPr>
        <p:sp>
          <p:nvSpPr>
            <p:cNvPr id="990" name="Google Shape;990;p16"/>
            <p:cNvSpPr/>
            <p:nvPr/>
          </p:nvSpPr>
          <p:spPr>
            <a:xfrm>
              <a:off x="743340" y="3919114"/>
              <a:ext cx="4825319" cy="1656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1" name="Google Shape;991;p16"/>
            <p:cNvPicPr preferRelativeResize="0"/>
            <p:nvPr/>
          </p:nvPicPr>
          <p:blipFill rotWithShape="1">
            <a:blip r:embed="rId3">
              <a:alphaModFix/>
            </a:blip>
            <a:srcRect l="1003" r="47551"/>
            <a:stretch/>
          </p:blipFill>
          <p:spPr>
            <a:xfrm>
              <a:off x="855478" y="4027114"/>
              <a:ext cx="3171297" cy="1440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2" name="Google Shape;992;p16"/>
            <p:cNvSpPr/>
            <p:nvPr/>
          </p:nvSpPr>
          <p:spPr>
            <a:xfrm>
              <a:off x="2790304" y="4327889"/>
              <a:ext cx="1044000" cy="278607"/>
            </a:xfrm>
            <a:prstGeom prst="rect">
              <a:avLst/>
            </a:prstGeom>
            <a:solidFill>
              <a:schemeClr val="dk2">
                <a:alpha val="14901"/>
              </a:schemeClr>
            </a:solidFill>
            <a:ln w="28575" cap="rnd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93" name="Google Shape;993;p16"/>
            <p:cNvSpPr/>
            <p:nvPr/>
          </p:nvSpPr>
          <p:spPr>
            <a:xfrm>
              <a:off x="879477" y="5088468"/>
              <a:ext cx="914400" cy="216000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4" name="Google Shape;994;p16"/>
            <p:cNvPicPr preferRelativeResize="0"/>
            <p:nvPr/>
          </p:nvPicPr>
          <p:blipFill rotWithShape="1">
            <a:blip r:embed="rId3">
              <a:alphaModFix/>
            </a:blip>
            <a:srcRect l="78710"/>
            <a:stretch/>
          </p:blipFill>
          <p:spPr>
            <a:xfrm>
              <a:off x="4142949" y="4027114"/>
              <a:ext cx="1312413" cy="1440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5" name="Google Shape;995;p16"/>
            <p:cNvSpPr/>
            <p:nvPr/>
          </p:nvSpPr>
          <p:spPr>
            <a:xfrm>
              <a:off x="4218062" y="4060782"/>
              <a:ext cx="1162593" cy="299036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996" name="Google Shape;996;p16"/>
          <p:cNvGrpSpPr/>
          <p:nvPr/>
        </p:nvGrpSpPr>
        <p:grpSpPr>
          <a:xfrm>
            <a:off x="10008660" y="2468488"/>
            <a:ext cx="1440000" cy="792000"/>
            <a:chOff x="9935570" y="2429999"/>
            <a:chExt cx="1440000" cy="792000"/>
          </a:xfrm>
        </p:grpSpPr>
        <p:sp>
          <p:nvSpPr>
            <p:cNvPr id="997" name="Google Shape;997;p16"/>
            <p:cNvSpPr/>
            <p:nvPr/>
          </p:nvSpPr>
          <p:spPr>
            <a:xfrm>
              <a:off x="9935570" y="2429999"/>
              <a:ext cx="1440000" cy="792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8" name="Google Shape;998;p16"/>
            <p:cNvPicPr preferRelativeResize="0"/>
            <p:nvPr/>
          </p:nvPicPr>
          <p:blipFill rotWithShape="1">
            <a:blip r:embed="rId3">
              <a:alphaModFix/>
            </a:blip>
            <a:srcRect l="32044" t="20073" r="46617" b="36909"/>
            <a:stretch/>
          </p:blipFill>
          <p:spPr>
            <a:xfrm>
              <a:off x="10043570" y="2537800"/>
              <a:ext cx="1224000" cy="576398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9" name="Google Shape;999;p16"/>
            <p:cNvSpPr/>
            <p:nvPr/>
          </p:nvSpPr>
          <p:spPr>
            <a:xfrm>
              <a:off x="10056358" y="2750912"/>
              <a:ext cx="1188000" cy="252000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00" name="Google Shape;1000;p16"/>
          <p:cNvGrpSpPr/>
          <p:nvPr/>
        </p:nvGrpSpPr>
        <p:grpSpPr>
          <a:xfrm>
            <a:off x="10224660" y="4120516"/>
            <a:ext cx="1224000" cy="540000"/>
            <a:chOff x="10224660" y="4130348"/>
            <a:chExt cx="1224000" cy="540000"/>
          </a:xfrm>
        </p:grpSpPr>
        <p:sp>
          <p:nvSpPr>
            <p:cNvPr id="1001" name="Google Shape;1001;p16"/>
            <p:cNvSpPr/>
            <p:nvPr/>
          </p:nvSpPr>
          <p:spPr>
            <a:xfrm>
              <a:off x="10224660" y="4130348"/>
              <a:ext cx="1224000" cy="540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02" name="Google Shape;1002;p16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10332660" y="4238348"/>
              <a:ext cx="1008000" cy="32400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8" name="Google Shape;1008;p17"/>
          <p:cNvSpPr/>
          <p:nvPr/>
        </p:nvSpPr>
        <p:spPr>
          <a:xfrm>
            <a:off x="431999" y="3921125"/>
            <a:ext cx="5968799" cy="250666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500"/>
              <a:buFont typeface="Arial"/>
              <a:buNone/>
            </a:pPr>
            <a:endParaRPr lang="en-US" sz="1500" b="0" i="0" u="none" strike="noStrike" cap="none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09" name="Google Shape;1009;p17"/>
          <p:cNvGrpSpPr/>
          <p:nvPr/>
        </p:nvGrpSpPr>
        <p:grpSpPr>
          <a:xfrm>
            <a:off x="3525621" y="4914289"/>
            <a:ext cx="2160433" cy="1319022"/>
            <a:chOff x="2111317" y="4657623"/>
            <a:chExt cx="2160433" cy="1329497"/>
          </a:xfrm>
        </p:grpSpPr>
        <p:pic>
          <p:nvPicPr>
            <p:cNvPr id="1010" name="Google Shape;1010;p17"/>
            <p:cNvPicPr preferRelativeResize="0"/>
            <p:nvPr/>
          </p:nvPicPr>
          <p:blipFill rotWithShape="1">
            <a:blip r:embed="rId3">
              <a:alphaModFix/>
            </a:blip>
            <a:srcRect l="29896" t="5647" r="14924" b="3337"/>
            <a:stretch/>
          </p:blipFill>
          <p:spPr>
            <a:xfrm>
              <a:off x="2111319" y="4657623"/>
              <a:ext cx="2160431" cy="1329496"/>
            </a:xfrm>
            <a:prstGeom prst="rect">
              <a:avLst/>
            </a:prstGeom>
            <a:noFill/>
            <a:ln>
              <a:noFill/>
            </a:ln>
            <a:effectLst>
              <a:outerShdw blurRad="177800" dist="101600" dir="2700000" algn="tl" rotWithShape="0">
                <a:srgbClr val="000000">
                  <a:alpha val="21960"/>
                </a:srgbClr>
              </a:outerShdw>
            </a:effectLst>
          </p:spPr>
        </p:pic>
        <p:sp>
          <p:nvSpPr>
            <p:cNvPr id="1011" name="Google Shape;1011;p17"/>
            <p:cNvSpPr/>
            <p:nvPr/>
          </p:nvSpPr>
          <p:spPr>
            <a:xfrm>
              <a:off x="2111317" y="5866536"/>
              <a:ext cx="2160431" cy="120584"/>
            </a:xfrm>
            <a:prstGeom prst="rect">
              <a:avLst/>
            </a:prstGeom>
            <a:solidFill>
              <a:schemeClr val="dk1">
                <a:alpha val="72941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12" name="Google Shape;1012;p17"/>
          <p:cNvSpPr/>
          <p:nvPr/>
        </p:nvSpPr>
        <p:spPr>
          <a:xfrm>
            <a:off x="432000" y="1520825"/>
            <a:ext cx="5968798" cy="207672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500"/>
              <a:buFont typeface="Arial"/>
              <a:buNone/>
            </a:pPr>
            <a:endParaRPr lang="en-US" sz="1500" b="0" i="0" u="none" strike="noStrike" cap="none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13" name="Google Shape;1013;p17"/>
          <p:cNvPicPr preferRelativeResize="0"/>
          <p:nvPr/>
        </p:nvPicPr>
        <p:blipFill rotWithShape="1">
          <a:blip r:embed="rId3">
            <a:alphaModFix/>
          </a:blip>
          <a:srcRect l="40263" t="5647" r="9027" b="3337"/>
          <a:stretch/>
        </p:blipFill>
        <p:spPr>
          <a:xfrm>
            <a:off x="628751" y="1753505"/>
            <a:ext cx="2462840" cy="1649160"/>
          </a:xfrm>
          <a:prstGeom prst="rect">
            <a:avLst/>
          </a:prstGeom>
          <a:noFill/>
          <a:ln>
            <a:noFill/>
          </a:ln>
          <a:effectLst>
            <a:outerShdw blurRad="177800" dist="101600" dir="2700000" algn="tl" rotWithShape="0">
              <a:srgbClr val="000000">
                <a:alpha val="21960"/>
              </a:srgbClr>
            </a:outerShdw>
          </a:effectLst>
        </p:spPr>
      </p:pic>
      <p:sp>
        <p:nvSpPr>
          <p:cNvPr id="1014" name="Google Shape;1014;p1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Insert image into placeholder</a:t>
            </a:r>
          </a:p>
        </p:txBody>
      </p:sp>
      <p:sp>
        <p:nvSpPr>
          <p:cNvPr id="1015" name="Google Shape;1015;p17"/>
          <p:cNvSpPr txBox="1"/>
          <p:nvPr/>
        </p:nvSpPr>
        <p:spPr>
          <a:xfrm>
            <a:off x="7133216" y="1520825"/>
            <a:ext cx="4628572" cy="21467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78FB0"/>
              </a:buClr>
              <a:buSzPts val="1400"/>
              <a:buFont typeface="Arial"/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sert image from external sourc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on the image            icon, select image from Sharepoint or other sourc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he bbv image library is here locally located: </a:t>
            </a:r>
            <a:r>
              <a:rPr lang="en-US" sz="1400" b="0" i="1" u="sng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:\Users\Public\bbv_templates\Marketing\PPT-Bibliotheken\Bilder-Bibliothek</a:t>
            </a:r>
            <a:endParaRPr lang="en-US" sz="1400" b="0" i="1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r: copy image from external source with Ctrl+C, select the placeholder, then paste with Ctrl+V</a:t>
            </a:r>
          </a:p>
        </p:txBody>
      </p:sp>
      <p:sp>
        <p:nvSpPr>
          <p:cNvPr id="1016" name="Google Shape;1016;p17"/>
          <p:cNvSpPr txBox="1"/>
          <p:nvPr/>
        </p:nvSpPr>
        <p:spPr>
          <a:xfrm>
            <a:off x="7135996" y="3921125"/>
            <a:ext cx="4625792" cy="21981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0613"/>
              </a:buClr>
              <a:buSzPts val="1400"/>
              <a:buFont typeface="Arial"/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imag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in the tab «Picture Format» on «Crop»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the image composition by moving the image 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Resize the image by clicking and dragging the outer circles.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again on «Crop» to finish the adjustments</a:t>
            </a:r>
            <a:endParaRPr lang="en-US" noProof="1"/>
          </a:p>
        </p:txBody>
      </p:sp>
      <p:cxnSp>
        <p:nvCxnSpPr>
          <p:cNvPr id="1017" name="Google Shape;1017;p17"/>
          <p:cNvCxnSpPr/>
          <p:nvPr/>
        </p:nvCxnSpPr>
        <p:spPr>
          <a:xfrm>
            <a:off x="3018503" y="4570185"/>
            <a:ext cx="3195665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018" name="Google Shape;1018;p17"/>
          <p:cNvSpPr/>
          <p:nvPr/>
        </p:nvSpPr>
        <p:spPr>
          <a:xfrm>
            <a:off x="5585161" y="6093205"/>
            <a:ext cx="221875" cy="221875"/>
          </a:xfrm>
          <a:prstGeom prst="ellipse">
            <a:avLst/>
          </a:prstGeom>
          <a:solidFill>
            <a:schemeClr val="accent6">
              <a:alpha val="20000"/>
            </a:schemeClr>
          </a:solidFill>
          <a:ln w="28575" cap="rnd" cmpd="sng">
            <a:solidFill>
              <a:srgbClr val="F398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19" name="Google Shape;1019;p17"/>
          <p:cNvGrpSpPr/>
          <p:nvPr/>
        </p:nvGrpSpPr>
        <p:grpSpPr>
          <a:xfrm>
            <a:off x="3525807" y="4912400"/>
            <a:ext cx="143313" cy="143313"/>
            <a:chOff x="4070350" y="4368475"/>
            <a:chExt cx="143313" cy="143313"/>
          </a:xfrm>
        </p:grpSpPr>
        <p:sp>
          <p:nvSpPr>
            <p:cNvPr id="1020" name="Google Shape;1020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1" name="Google Shape;1021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2" name="Google Shape;1022;p17"/>
          <p:cNvGrpSpPr/>
          <p:nvPr/>
        </p:nvGrpSpPr>
        <p:grpSpPr>
          <a:xfrm rot="5400000">
            <a:off x="5552787" y="4909457"/>
            <a:ext cx="143313" cy="143313"/>
            <a:chOff x="4070350" y="4368475"/>
            <a:chExt cx="143313" cy="143313"/>
          </a:xfrm>
        </p:grpSpPr>
        <p:sp>
          <p:nvSpPr>
            <p:cNvPr id="1023" name="Google Shape;1023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4" name="Google Shape;1024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5" name="Google Shape;1025;p17"/>
          <p:cNvGrpSpPr/>
          <p:nvPr/>
        </p:nvGrpSpPr>
        <p:grpSpPr>
          <a:xfrm rot="10800000">
            <a:off x="5552787" y="5985903"/>
            <a:ext cx="143313" cy="143313"/>
            <a:chOff x="4070350" y="4368475"/>
            <a:chExt cx="143313" cy="143313"/>
          </a:xfrm>
        </p:grpSpPr>
        <p:sp>
          <p:nvSpPr>
            <p:cNvPr id="1026" name="Google Shape;1026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7" name="Google Shape;1027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8" name="Google Shape;1028;p17"/>
          <p:cNvGrpSpPr/>
          <p:nvPr/>
        </p:nvGrpSpPr>
        <p:grpSpPr>
          <a:xfrm rot="-5400000">
            <a:off x="3525807" y="5985904"/>
            <a:ext cx="143313" cy="143313"/>
            <a:chOff x="4070350" y="4368475"/>
            <a:chExt cx="143313" cy="143313"/>
          </a:xfrm>
        </p:grpSpPr>
        <p:sp>
          <p:nvSpPr>
            <p:cNvPr id="1029" name="Google Shape;1029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30" name="Google Shape;1030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31" name="Google Shape;1031;p17"/>
          <p:cNvSpPr/>
          <p:nvPr/>
        </p:nvSpPr>
        <p:spPr>
          <a:xfrm>
            <a:off x="4538503" y="4918908"/>
            <a:ext cx="143313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2" name="Google Shape;1032;p17"/>
          <p:cNvSpPr/>
          <p:nvPr/>
        </p:nvSpPr>
        <p:spPr>
          <a:xfrm>
            <a:off x="4532240" y="6091591"/>
            <a:ext cx="143313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3" name="Google Shape;1033;p17"/>
          <p:cNvSpPr/>
          <p:nvPr/>
        </p:nvSpPr>
        <p:spPr>
          <a:xfrm>
            <a:off x="3480982" y="6186373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4" name="Google Shape;1034;p17"/>
          <p:cNvSpPr/>
          <p:nvPr/>
        </p:nvSpPr>
        <p:spPr>
          <a:xfrm>
            <a:off x="3486957" y="4880360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5" name="Google Shape;1035;p17"/>
          <p:cNvSpPr/>
          <p:nvPr/>
        </p:nvSpPr>
        <p:spPr>
          <a:xfrm>
            <a:off x="5666615" y="4861688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6" name="Google Shape;1036;p17"/>
          <p:cNvSpPr/>
          <p:nvPr/>
        </p:nvSpPr>
        <p:spPr>
          <a:xfrm>
            <a:off x="4562837" y="4874757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7" name="Google Shape;1037;p17"/>
          <p:cNvSpPr/>
          <p:nvPr/>
        </p:nvSpPr>
        <p:spPr>
          <a:xfrm>
            <a:off x="4569135" y="6186819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8" name="Google Shape;1038;p17"/>
          <p:cNvSpPr/>
          <p:nvPr/>
        </p:nvSpPr>
        <p:spPr>
          <a:xfrm>
            <a:off x="5663549" y="6167767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9" name="Google Shape;1039;p17"/>
          <p:cNvSpPr/>
          <p:nvPr/>
        </p:nvSpPr>
        <p:spPr>
          <a:xfrm rot="5400000">
            <a:off x="5605433" y="5503937"/>
            <a:ext cx="142875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0" name="Google Shape;1040;p17"/>
          <p:cNvSpPr/>
          <p:nvPr/>
        </p:nvSpPr>
        <p:spPr>
          <a:xfrm rot="5400000">
            <a:off x="3470246" y="5503937"/>
            <a:ext cx="142875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41" name="Google Shape;1041;p17"/>
          <p:cNvGrpSpPr/>
          <p:nvPr/>
        </p:nvGrpSpPr>
        <p:grpSpPr>
          <a:xfrm>
            <a:off x="4478309" y="5060654"/>
            <a:ext cx="248149" cy="248149"/>
            <a:chOff x="5640408" y="2973408"/>
            <a:chExt cx="1212768" cy="1212768"/>
          </a:xfrm>
        </p:grpSpPr>
        <p:grpSp>
          <p:nvGrpSpPr>
            <p:cNvPr id="1042" name="Google Shape;1042;p17"/>
            <p:cNvGrpSpPr/>
            <p:nvPr/>
          </p:nvGrpSpPr>
          <p:grpSpPr>
            <a:xfrm>
              <a:off x="5789592" y="2973408"/>
              <a:ext cx="914400" cy="1212768"/>
              <a:chOff x="5638800" y="2971800"/>
              <a:chExt cx="914400" cy="1212768"/>
            </a:xfrm>
          </p:grpSpPr>
          <p:pic>
            <p:nvPicPr>
              <p:cNvPr id="1043" name="Google Shape;1043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>
                <a:off x="5638800" y="2971800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044" name="Google Shape;1044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 rot="10800000" flipH="1">
                <a:off x="5638800" y="3270168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1045" name="Google Shape;1045;p17"/>
            <p:cNvGrpSpPr/>
            <p:nvPr/>
          </p:nvGrpSpPr>
          <p:grpSpPr>
            <a:xfrm rot="5400000">
              <a:off x="5789592" y="2973408"/>
              <a:ext cx="914400" cy="1212768"/>
              <a:chOff x="5638800" y="2971800"/>
              <a:chExt cx="914400" cy="1212768"/>
            </a:xfrm>
          </p:grpSpPr>
          <p:pic>
            <p:nvPicPr>
              <p:cNvPr id="1046" name="Google Shape;1046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>
                <a:off x="5638800" y="2971800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047" name="Google Shape;1047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 rot="10800000" flipH="1">
                <a:off x="5638800" y="3270168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1048" name="Google Shape;1048;p17"/>
          <p:cNvGrpSpPr/>
          <p:nvPr/>
        </p:nvGrpSpPr>
        <p:grpSpPr>
          <a:xfrm>
            <a:off x="628751" y="4120185"/>
            <a:ext cx="2268000" cy="900000"/>
            <a:chOff x="628751" y="4086226"/>
            <a:chExt cx="2268000" cy="900000"/>
          </a:xfrm>
        </p:grpSpPr>
        <p:sp>
          <p:nvSpPr>
            <p:cNvPr id="1049" name="Google Shape;1049;p17"/>
            <p:cNvSpPr/>
            <p:nvPr/>
          </p:nvSpPr>
          <p:spPr>
            <a:xfrm flipH="1">
              <a:off x="628751" y="4086226"/>
              <a:ext cx="2268000" cy="900000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50" name="Google Shape;1050;p17"/>
            <p:cNvPicPr preferRelativeResize="0"/>
            <p:nvPr/>
          </p:nvPicPr>
          <p:blipFill rotWithShape="1">
            <a:blip r:embed="rId6">
              <a:alphaModFix/>
            </a:blip>
            <a:srcRect r="81380"/>
            <a:stretch/>
          </p:blipFill>
          <p:spPr>
            <a:xfrm>
              <a:off x="699133" y="4158226"/>
              <a:ext cx="1066921" cy="756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051" name="Google Shape;1051;p17"/>
            <p:cNvPicPr preferRelativeResize="0"/>
            <p:nvPr/>
          </p:nvPicPr>
          <p:blipFill rotWithShape="1">
            <a:blip r:embed="rId6">
              <a:alphaModFix/>
            </a:blip>
            <a:srcRect l="82864"/>
            <a:stretch/>
          </p:blipFill>
          <p:spPr>
            <a:xfrm>
              <a:off x="1838051" y="4158226"/>
              <a:ext cx="981905" cy="756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052" name="Google Shape;1052;p17"/>
            <p:cNvSpPr/>
            <p:nvPr/>
          </p:nvSpPr>
          <p:spPr>
            <a:xfrm>
              <a:off x="895612" y="4161992"/>
              <a:ext cx="684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3" name="Google Shape;1053;p17"/>
            <p:cNvSpPr/>
            <p:nvPr/>
          </p:nvSpPr>
          <p:spPr>
            <a:xfrm>
              <a:off x="2318368" y="4332225"/>
              <a:ext cx="288000" cy="468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54" name="Google Shape;1054;p17"/>
          <p:cNvGrpSpPr/>
          <p:nvPr/>
        </p:nvGrpSpPr>
        <p:grpSpPr>
          <a:xfrm>
            <a:off x="6597549" y="1520825"/>
            <a:ext cx="197613" cy="2076725"/>
            <a:chOff x="6597549" y="1520825"/>
            <a:chExt cx="197613" cy="2076725"/>
          </a:xfrm>
        </p:grpSpPr>
        <p:cxnSp>
          <p:nvCxnSpPr>
            <p:cNvPr id="1055" name="Google Shape;1055;p17"/>
            <p:cNvCxnSpPr/>
            <p:nvPr/>
          </p:nvCxnSpPr>
          <p:spPr>
            <a:xfrm>
              <a:off x="6597549" y="2559187"/>
              <a:ext cx="197613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056" name="Google Shape;1056;p17"/>
            <p:cNvCxnSpPr/>
            <p:nvPr/>
          </p:nvCxnSpPr>
          <p:spPr>
            <a:xfrm>
              <a:off x="6597549" y="1520825"/>
              <a:ext cx="0" cy="207672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cxnSp>
        <p:nvCxnSpPr>
          <p:cNvPr id="1057" name="Google Shape;1057;p17"/>
          <p:cNvCxnSpPr/>
          <p:nvPr/>
        </p:nvCxnSpPr>
        <p:spPr>
          <a:xfrm>
            <a:off x="4919271" y="5222470"/>
            <a:ext cx="1294897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pic>
        <p:nvPicPr>
          <p:cNvPr id="1058" name="Google Shape;1058;p17" descr="Cursor mit einfarbiger Füllung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4581579" y="5159510"/>
            <a:ext cx="367089" cy="367089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59" name="Google Shape;1059;p17"/>
          <p:cNvCxnSpPr/>
          <p:nvPr/>
        </p:nvCxnSpPr>
        <p:spPr>
          <a:xfrm>
            <a:off x="5860347" y="6204204"/>
            <a:ext cx="353821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pic>
        <p:nvPicPr>
          <p:cNvPr id="1060" name="Google Shape;1060;p17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3288342" y="1756560"/>
            <a:ext cx="2925826" cy="1643050"/>
          </a:xfrm>
          <a:prstGeom prst="rect">
            <a:avLst/>
          </a:prstGeom>
          <a:noFill/>
          <a:ln>
            <a:noFill/>
          </a:ln>
          <a:effectLst>
            <a:outerShdw blurRad="177800" dist="101600" dir="2700000" algn="tl" rotWithShape="0">
              <a:srgbClr val="000000">
                <a:alpha val="21960"/>
              </a:srgbClr>
            </a:outerShdw>
          </a:effectLst>
        </p:spPr>
      </p:pic>
      <p:pic>
        <p:nvPicPr>
          <p:cNvPr id="1061" name="Google Shape;1061;p17"/>
          <p:cNvPicPr preferRelativeResize="0"/>
          <p:nvPr/>
        </p:nvPicPr>
        <p:blipFill rotWithShape="1">
          <a:blip r:embed="rId9">
            <a:alphaModFix/>
          </a:blip>
          <a:srcRect l="18215" r="18215"/>
          <a:stretch/>
        </p:blipFill>
        <p:spPr>
          <a:xfrm>
            <a:off x="4980229" y="2146294"/>
            <a:ext cx="404399" cy="294277"/>
          </a:xfrm>
          <a:prstGeom prst="rect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</p:pic>
      <p:pic>
        <p:nvPicPr>
          <p:cNvPr id="1062" name="Google Shape;1062;p17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8880016" y="1752100"/>
            <a:ext cx="447566" cy="34428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63" name="Google Shape;1063;p17"/>
          <p:cNvCxnSpPr/>
          <p:nvPr/>
        </p:nvCxnSpPr>
        <p:spPr>
          <a:xfrm>
            <a:off x="6214168" y="4740558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4" name="Google Shape;1064;p17"/>
          <p:cNvCxnSpPr/>
          <p:nvPr/>
        </p:nvCxnSpPr>
        <p:spPr>
          <a:xfrm rot="10800000">
            <a:off x="6214168" y="4570185"/>
            <a:ext cx="0" cy="170373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65" name="Google Shape;1065;p17"/>
          <p:cNvCxnSpPr/>
          <p:nvPr/>
        </p:nvCxnSpPr>
        <p:spPr>
          <a:xfrm>
            <a:off x="6214168" y="5087702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6" name="Google Shape;1066;p17"/>
          <p:cNvCxnSpPr/>
          <p:nvPr/>
        </p:nvCxnSpPr>
        <p:spPr>
          <a:xfrm rot="10800000">
            <a:off x="6214168" y="5087702"/>
            <a:ext cx="0" cy="134768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67" name="Google Shape;1067;p17"/>
          <p:cNvCxnSpPr/>
          <p:nvPr/>
        </p:nvCxnSpPr>
        <p:spPr>
          <a:xfrm>
            <a:off x="6214168" y="5450499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8" name="Google Shape;1068;p17"/>
          <p:cNvCxnSpPr/>
          <p:nvPr/>
        </p:nvCxnSpPr>
        <p:spPr>
          <a:xfrm rot="10800000">
            <a:off x="6214168" y="5450499"/>
            <a:ext cx="0" cy="753705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74" name="Google Shape;1074;p18"/>
          <p:cNvPicPr preferRelativeResize="0"/>
          <p:nvPr/>
        </p:nvPicPr>
        <p:blipFill rotWithShape="1">
          <a:blip r:embed="rId3">
            <a:alphaModFix/>
          </a:blip>
          <a:srcRect l="11447" t="8409" r="21860" b="23176"/>
          <a:stretch/>
        </p:blipFill>
        <p:spPr>
          <a:xfrm>
            <a:off x="9504266" y="2448728"/>
            <a:ext cx="2257522" cy="864000"/>
          </a:xfrm>
          <a:prstGeom prst="rect">
            <a:avLst/>
          </a:pr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</p:pic>
      <p:pic>
        <p:nvPicPr>
          <p:cNvPr id="1075" name="Google Shape;1075;p18"/>
          <p:cNvPicPr preferRelativeResize="0"/>
          <p:nvPr/>
        </p:nvPicPr>
        <p:blipFill rotWithShape="1">
          <a:blip r:embed="rId3">
            <a:alphaModFix/>
          </a:blip>
          <a:srcRect l="11447" t="8409" r="21860" b="23176"/>
          <a:stretch/>
        </p:blipFill>
        <p:spPr>
          <a:xfrm>
            <a:off x="9880518" y="1533833"/>
            <a:ext cx="1881270" cy="720000"/>
          </a:xfrm>
          <a:prstGeom prst="rect">
            <a:avLst/>
          </a:pr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076" name="Google Shape;1076;p1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Insert image into mock-up screen (mobile/laptop)</a:t>
            </a:r>
          </a:p>
        </p:txBody>
      </p:sp>
      <p:cxnSp>
        <p:nvCxnSpPr>
          <p:cNvPr id="1077" name="Google Shape;1077;p18"/>
          <p:cNvCxnSpPr/>
          <p:nvPr/>
        </p:nvCxnSpPr>
        <p:spPr>
          <a:xfrm rot="10800000">
            <a:off x="5291999" y="2348442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78" name="Google Shape;1078;p18"/>
          <p:cNvCxnSpPr/>
          <p:nvPr/>
        </p:nvCxnSpPr>
        <p:spPr>
          <a:xfrm rot="10800000">
            <a:off x="5291999" y="3416482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79" name="Google Shape;1079;p18"/>
          <p:cNvCxnSpPr/>
          <p:nvPr/>
        </p:nvCxnSpPr>
        <p:spPr>
          <a:xfrm rot="10800000">
            <a:off x="5291999" y="4980217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080" name="Google Shape;1080;p18"/>
          <p:cNvSpPr/>
          <p:nvPr/>
        </p:nvSpPr>
        <p:spPr>
          <a:xfrm>
            <a:off x="5328000" y="1616850"/>
            <a:ext cx="4169678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aste image</a:t>
            </a:r>
            <a:endParaRPr lang="en-US" sz="1400" b="0" i="0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py image from external source with Ctrl+C and paste with Ctrl+V</a:t>
            </a:r>
          </a:p>
        </p:txBody>
      </p:sp>
      <p:sp>
        <p:nvSpPr>
          <p:cNvPr id="1081" name="Google Shape;1081;p18"/>
          <p:cNvSpPr/>
          <p:nvPr/>
        </p:nvSpPr>
        <p:spPr>
          <a:xfrm>
            <a:off x="5328000" y="2448728"/>
            <a:ext cx="4169679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size &amp; determine image area:</a:t>
            </a:r>
            <a:endParaRPr lang="en-US" sz="1400" b="0" i="0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lace image behind image mask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image size and determine image area</a:t>
            </a:r>
            <a:endParaRPr lang="en-US" noProof="1"/>
          </a:p>
        </p:txBody>
      </p:sp>
      <p:sp>
        <p:nvSpPr>
          <p:cNvPr id="1082" name="Google Shape;1082;p18"/>
          <p:cNvSpPr/>
          <p:nvPr/>
        </p:nvSpPr>
        <p:spPr>
          <a:xfrm>
            <a:off x="5328000" y="3529683"/>
            <a:ext cx="2808000" cy="10772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rop image to image mask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mag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mage mask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in the tab «Shape Format / </a:t>
            </a:r>
            <a:b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erge Shapes» on «Intersect»</a:t>
            </a:r>
            <a:endParaRPr lang="en-US" noProof="1"/>
          </a:p>
        </p:txBody>
      </p:sp>
      <p:sp>
        <p:nvSpPr>
          <p:cNvPr id="1083" name="Google Shape;1083;p18"/>
          <p:cNvSpPr/>
          <p:nvPr/>
        </p:nvSpPr>
        <p:spPr>
          <a:xfrm>
            <a:off x="5328000" y="5095788"/>
            <a:ext cx="3276000" cy="1292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mbine image with mock-up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lace image behind mock-up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tivate image and mock-up and align both horizontally (Align Center) and vertically (Align Middle)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Group image and mock-up with Ctrl+G</a:t>
            </a:r>
          </a:p>
        </p:txBody>
      </p:sp>
      <p:sp>
        <p:nvSpPr>
          <p:cNvPr id="1084" name="Google Shape;1084;p18"/>
          <p:cNvSpPr/>
          <p:nvPr/>
        </p:nvSpPr>
        <p:spPr>
          <a:xfrm>
            <a:off x="10443538" y="2486085"/>
            <a:ext cx="370891" cy="792000"/>
          </a:xfrm>
          <a:prstGeom prst="roundRect">
            <a:avLst>
              <a:gd name="adj" fmla="val 16667"/>
            </a:avLst>
          </a:prstGeom>
          <a:solidFill>
            <a:schemeClr val="accent1">
              <a:alpha val="74901"/>
            </a:schemeClr>
          </a:solidFill>
          <a:ln>
            <a:noFill/>
          </a:ln>
        </p:spPr>
        <p:txBody>
          <a:bodyPr spcFirstLastPara="1" wrap="square" lIns="0" tIns="95875" rIns="0" bIns="958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Arial"/>
              <a:buNone/>
            </a:pPr>
            <a:r>
              <a:rPr lang="en-US" sz="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mage mask</a:t>
            </a:r>
            <a:endParaRPr lang="en-US" noProof="1"/>
          </a:p>
        </p:txBody>
      </p:sp>
      <p:sp>
        <p:nvSpPr>
          <p:cNvPr id="1085" name="Google Shape;1085;p18"/>
          <p:cNvSpPr/>
          <p:nvPr/>
        </p:nvSpPr>
        <p:spPr>
          <a:xfrm>
            <a:off x="645891" y="1901419"/>
            <a:ext cx="1106662" cy="2373969"/>
          </a:xfrm>
          <a:prstGeom prst="roundRect">
            <a:avLst>
              <a:gd name="adj" fmla="val 16667"/>
            </a:avLst>
          </a:prstGeom>
          <a:solidFill>
            <a:schemeClr val="accent1">
              <a:alpha val="74901"/>
            </a:schemeClr>
          </a:solidFill>
          <a:ln>
            <a:noFill/>
          </a:ln>
        </p:spPr>
        <p:txBody>
          <a:bodyPr spcFirstLastPara="1" wrap="square" lIns="143800" tIns="95875" rIns="143800" bIns="958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</a:pPr>
            <a:r>
              <a:rPr lang="en-US" sz="14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mage mask</a:t>
            </a:r>
            <a:endParaRPr lang="en-US" noProof="1"/>
          </a:p>
        </p:txBody>
      </p:sp>
      <p:pic>
        <p:nvPicPr>
          <p:cNvPr id="1086" name="Google Shape;1086;p18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431999" y="1533833"/>
            <a:ext cx="1198365" cy="242650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087" name="Google Shape;1087;p18"/>
          <p:cNvGrpSpPr/>
          <p:nvPr/>
        </p:nvGrpSpPr>
        <p:grpSpPr>
          <a:xfrm>
            <a:off x="11103958" y="5082272"/>
            <a:ext cx="657830" cy="1332000"/>
            <a:chOff x="4126180" y="387649"/>
            <a:chExt cx="2056248" cy="4163583"/>
          </a:xfrm>
        </p:grpSpPr>
        <p:pic>
          <p:nvPicPr>
            <p:cNvPr id="1088" name="Google Shape;1088;p18"/>
            <p:cNvPicPr preferRelativeResize="0"/>
            <p:nvPr/>
          </p:nvPicPr>
          <p:blipFill rotWithShape="1">
            <a:blip r:embed="rId3">
              <a:alphaModFix/>
            </a:blip>
            <a:srcRect l="42680" t="4272" r="41574" b="5574"/>
            <a:stretch/>
          </p:blipFill>
          <p:spPr>
            <a:xfrm>
              <a:off x="4220185" y="462052"/>
              <a:ext cx="1868241" cy="4014777"/>
            </a:xfrm>
            <a:prstGeom prst="roundRect">
              <a:avLst>
                <a:gd name="adj" fmla="val 16667"/>
              </a:avLst>
            </a:prstGeom>
            <a:noFill/>
            <a:ln>
              <a:noFill/>
            </a:ln>
          </p:spPr>
        </p:pic>
        <p:pic>
          <p:nvPicPr>
            <p:cNvPr id="1089" name="Google Shape;1089;p18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4126180" y="387649"/>
              <a:ext cx="2056248" cy="4163583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090" name="Google Shape;1090;p18"/>
          <p:cNvPicPr preferRelativeResize="0"/>
          <p:nvPr/>
        </p:nvPicPr>
        <p:blipFill rotWithShape="1">
          <a:blip r:embed="rId3">
            <a:alphaModFix/>
          </a:blip>
          <a:srcRect l="42680" t="4272" r="41574" b="5574"/>
          <a:stretch/>
        </p:blipFill>
        <p:spPr>
          <a:xfrm>
            <a:off x="11141953" y="3534075"/>
            <a:ext cx="619835" cy="13320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cxnSp>
        <p:nvCxnSpPr>
          <p:cNvPr id="1091" name="Google Shape;1091;p18"/>
          <p:cNvCxnSpPr/>
          <p:nvPr/>
        </p:nvCxnSpPr>
        <p:spPr>
          <a:xfrm>
            <a:off x="1630364" y="1747178"/>
            <a:ext cx="34611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sp>
        <p:nvSpPr>
          <p:cNvPr id="1092" name="Google Shape;1092;p18"/>
          <p:cNvSpPr txBox="1"/>
          <p:nvPr/>
        </p:nvSpPr>
        <p:spPr>
          <a:xfrm>
            <a:off x="1976474" y="1593290"/>
            <a:ext cx="9000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ock-up</a:t>
            </a:r>
            <a:endParaRPr lang="en-US" sz="1400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93" name="Google Shape;1093;p18"/>
          <p:cNvGrpSpPr/>
          <p:nvPr/>
        </p:nvGrpSpPr>
        <p:grpSpPr>
          <a:xfrm>
            <a:off x="2532954" y="2348442"/>
            <a:ext cx="2014645" cy="4079346"/>
            <a:chOff x="3124086" y="2147025"/>
            <a:chExt cx="2124148" cy="4301072"/>
          </a:xfrm>
        </p:grpSpPr>
        <p:pic>
          <p:nvPicPr>
            <p:cNvPr id="1094" name="Google Shape;1094;p18"/>
            <p:cNvPicPr preferRelativeResize="0"/>
            <p:nvPr/>
          </p:nvPicPr>
          <p:blipFill rotWithShape="1">
            <a:blip r:embed="rId3">
              <a:alphaModFix/>
            </a:blip>
            <a:srcRect l="41395" t="925" r="41381" b="545"/>
            <a:stretch/>
          </p:blipFill>
          <p:spPr>
            <a:xfrm>
              <a:off x="3205360" y="2193586"/>
              <a:ext cx="1961601" cy="4207952"/>
            </a:xfrm>
            <a:custGeom>
              <a:avLst/>
              <a:gdLst/>
              <a:ahLst/>
              <a:cxnLst/>
              <a:rect l="l" t="t" r="r" b="b"/>
              <a:pathLst>
                <a:path w="1961601" h="4207952" extrusionOk="0">
                  <a:moveTo>
                    <a:pt x="326940" y="0"/>
                  </a:moveTo>
                  <a:lnTo>
                    <a:pt x="1634661" y="0"/>
                  </a:lnTo>
                  <a:cubicBezTo>
                    <a:pt x="1815225" y="0"/>
                    <a:pt x="1961601" y="146376"/>
                    <a:pt x="1961601" y="326940"/>
                  </a:cubicBezTo>
                  <a:lnTo>
                    <a:pt x="1961601" y="3881012"/>
                  </a:lnTo>
                  <a:cubicBezTo>
                    <a:pt x="1961601" y="4061576"/>
                    <a:pt x="1815225" y="4207952"/>
                    <a:pt x="1634661" y="4207952"/>
                  </a:cubicBezTo>
                  <a:lnTo>
                    <a:pt x="326940" y="4207952"/>
                  </a:lnTo>
                  <a:cubicBezTo>
                    <a:pt x="146376" y="4207952"/>
                    <a:pt x="0" y="4061576"/>
                    <a:pt x="0" y="3881012"/>
                  </a:cubicBezTo>
                  <a:lnTo>
                    <a:pt x="0" y="326940"/>
                  </a:lnTo>
                  <a:cubicBezTo>
                    <a:pt x="0" y="146376"/>
                    <a:pt x="146376" y="0"/>
                    <a:pt x="326940" y="0"/>
                  </a:cubicBezTo>
                  <a:close/>
                </a:path>
              </a:pathLst>
            </a:custGeom>
            <a:noFill/>
            <a:ln>
              <a:noFill/>
            </a:ln>
          </p:spPr>
        </p:pic>
        <p:pic>
          <p:nvPicPr>
            <p:cNvPr id="1095" name="Google Shape;1095;p18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3124086" y="2147025"/>
              <a:ext cx="2124148" cy="4301072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096" name="Google Shape;1096;p18"/>
          <p:cNvGrpSpPr/>
          <p:nvPr/>
        </p:nvGrpSpPr>
        <p:grpSpPr>
          <a:xfrm>
            <a:off x="1199222" y="4392591"/>
            <a:ext cx="1140370" cy="622662"/>
            <a:chOff x="1199222" y="4392591"/>
            <a:chExt cx="1140370" cy="622662"/>
          </a:xfrm>
        </p:grpSpPr>
        <p:cxnSp>
          <p:nvCxnSpPr>
            <p:cNvPr id="1097" name="Google Shape;1097;p18"/>
            <p:cNvCxnSpPr/>
            <p:nvPr/>
          </p:nvCxnSpPr>
          <p:spPr>
            <a:xfrm rot="10800000">
              <a:off x="1199222" y="5015253"/>
              <a:ext cx="114037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triangle" w="med" len="med"/>
              <a:tailEnd type="none" w="sm" len="sm"/>
            </a:ln>
          </p:spPr>
        </p:cxnSp>
        <p:cxnSp>
          <p:nvCxnSpPr>
            <p:cNvPr id="1098" name="Google Shape;1098;p18"/>
            <p:cNvCxnSpPr/>
            <p:nvPr/>
          </p:nvCxnSpPr>
          <p:spPr>
            <a:xfrm rot="10800000">
              <a:off x="1199222" y="4392591"/>
              <a:ext cx="0" cy="622662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099" name="Google Shape;1099;p18"/>
          <p:cNvGrpSpPr/>
          <p:nvPr/>
        </p:nvGrpSpPr>
        <p:grpSpPr>
          <a:xfrm>
            <a:off x="9094355" y="3529683"/>
            <a:ext cx="1872501" cy="1331619"/>
            <a:chOff x="9092844" y="3529683"/>
            <a:chExt cx="1872501" cy="1331619"/>
          </a:xfrm>
        </p:grpSpPr>
        <p:sp>
          <p:nvSpPr>
            <p:cNvPr id="1100" name="Google Shape;1100;p18"/>
            <p:cNvSpPr/>
            <p:nvPr/>
          </p:nvSpPr>
          <p:spPr>
            <a:xfrm flipH="1">
              <a:off x="9092844" y="3529683"/>
              <a:ext cx="1872501" cy="1331619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01" name="Google Shape;1101;p18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10162214" y="3617845"/>
              <a:ext cx="715035" cy="1152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02" name="Google Shape;1102;p18"/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9178865" y="3617845"/>
              <a:ext cx="872000" cy="288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03" name="Google Shape;1103;p18"/>
            <p:cNvSpPr/>
            <p:nvPr/>
          </p:nvSpPr>
          <p:spPr>
            <a:xfrm>
              <a:off x="10189485" y="4518391"/>
              <a:ext cx="553272" cy="173844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104" name="Google Shape;1104;p18"/>
          <p:cNvGrpSpPr/>
          <p:nvPr/>
        </p:nvGrpSpPr>
        <p:grpSpPr>
          <a:xfrm>
            <a:off x="8914856" y="5082272"/>
            <a:ext cx="2052000" cy="1332000"/>
            <a:chOff x="8914856" y="5082272"/>
            <a:chExt cx="2052000" cy="1332000"/>
          </a:xfrm>
        </p:grpSpPr>
        <p:sp>
          <p:nvSpPr>
            <p:cNvPr id="1105" name="Google Shape;1105;p18"/>
            <p:cNvSpPr/>
            <p:nvPr/>
          </p:nvSpPr>
          <p:spPr>
            <a:xfrm flipH="1">
              <a:off x="8914856" y="5082272"/>
              <a:ext cx="2052000" cy="1332000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06" name="Google Shape;1106;p18"/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9000519" y="5172272"/>
              <a:ext cx="879999" cy="288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07" name="Google Shape;1107;p18"/>
            <p:cNvPicPr preferRelativeResize="0"/>
            <p:nvPr/>
          </p:nvPicPr>
          <p:blipFill rotWithShape="1">
            <a:blip r:embed="rId9">
              <a:alphaModFix/>
            </a:blip>
            <a:srcRect/>
            <a:stretch/>
          </p:blipFill>
          <p:spPr>
            <a:xfrm>
              <a:off x="9968777" y="5172272"/>
              <a:ext cx="909983" cy="115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08" name="Google Shape;1108;p18"/>
            <p:cNvSpPr/>
            <p:nvPr/>
          </p:nvSpPr>
          <p:spPr>
            <a:xfrm>
              <a:off x="9971164" y="5175576"/>
              <a:ext cx="252000" cy="39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9" name="Google Shape;1109;p18"/>
            <p:cNvSpPr/>
            <p:nvPr/>
          </p:nvSpPr>
          <p:spPr>
            <a:xfrm>
              <a:off x="10014804" y="5670125"/>
              <a:ext cx="576000" cy="180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10" name="Google Shape;1110;p18"/>
            <p:cNvSpPr/>
            <p:nvPr/>
          </p:nvSpPr>
          <p:spPr>
            <a:xfrm>
              <a:off x="10014804" y="6089998"/>
              <a:ext cx="576000" cy="180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" name="Google Shape;1116;p19"/>
          <p:cNvSpPr/>
          <p:nvPr/>
        </p:nvSpPr>
        <p:spPr>
          <a:xfrm>
            <a:off x="431998" y="1098550"/>
            <a:ext cx="11329789" cy="5329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7" name="Google Shape;1117;p1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template EN</a:t>
            </a:r>
          </a:p>
        </p:txBody>
      </p:sp>
      <p:sp>
        <p:nvSpPr>
          <p:cNvPr id="1118" name="Google Shape;1118;p19"/>
          <p:cNvSpPr txBox="1"/>
          <p:nvPr/>
        </p:nvSpPr>
        <p:spPr>
          <a:xfrm>
            <a:off x="864000" y="4246162"/>
            <a:ext cx="10468800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Arial"/>
              <a:buNone/>
            </a:pPr>
            <a:r>
              <a:rPr lang="en-US" sz="4800" b="1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tyle guide</a:t>
            </a:r>
            <a:endParaRPr lang="en-US" noProof="1"/>
          </a:p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4" name="Google Shape;1124;p2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Working area, guides &amp; ruler</a:t>
            </a:r>
          </a:p>
        </p:txBody>
      </p:sp>
      <p:sp>
        <p:nvSpPr>
          <p:cNvPr id="1125" name="Google Shape;1125;p20"/>
          <p:cNvSpPr txBox="1"/>
          <p:nvPr/>
        </p:nvSpPr>
        <p:spPr>
          <a:xfrm>
            <a:off x="428626" y="1530000"/>
            <a:ext cx="2316966" cy="4897788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44000" tIns="144000" rIns="96000" bIns="192000" anchor="t" anchorCtr="0">
            <a:noAutofit/>
          </a:bodyPr>
          <a:lstStyle/>
          <a:p>
            <a: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133"/>
              <a:buFont typeface="Arial"/>
              <a:buNone/>
            </a:pPr>
            <a:r>
              <a:rPr lang="en-US" sz="2133" b="1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Working area</a:t>
            </a:r>
            <a:endParaRPr lang="en-US" noProof="1"/>
          </a:p>
          <a:p>
            <a:pPr marL="0" marR="0" lvl="3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</a:pPr>
            <a:r>
              <a:rPr lang="en-US" sz="16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epending on the slide, a single-column layout, a 2-column or 3-column layout is used.</a:t>
            </a:r>
            <a:endParaRPr lang="en-US" noProof="1"/>
          </a:p>
          <a:p>
            <a:pPr marL="0" marR="0" lvl="3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</a:pPr>
            <a:r>
              <a:rPr lang="en-US" sz="16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isplay the ruler and guides in the «View» tab.</a:t>
            </a:r>
          </a:p>
        </p:txBody>
      </p:sp>
      <p:grpSp>
        <p:nvGrpSpPr>
          <p:cNvPr id="1126" name="Google Shape;1126;p20"/>
          <p:cNvGrpSpPr/>
          <p:nvPr/>
        </p:nvGrpSpPr>
        <p:grpSpPr>
          <a:xfrm>
            <a:off x="3114844" y="4119731"/>
            <a:ext cx="4003530" cy="2218887"/>
            <a:chOff x="3114844" y="4107426"/>
            <a:chExt cx="4003530" cy="2218887"/>
          </a:xfrm>
        </p:grpSpPr>
        <p:pic>
          <p:nvPicPr>
            <p:cNvPr id="1127" name="Google Shape;1127;p20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3114845" y="4107426"/>
              <a:ext cx="4003529" cy="2218887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</p:pic>
        <p:grpSp>
          <p:nvGrpSpPr>
            <p:cNvPr id="1128" name="Google Shape;1128;p20"/>
            <p:cNvGrpSpPr/>
            <p:nvPr/>
          </p:nvGrpSpPr>
          <p:grpSpPr>
            <a:xfrm>
              <a:off x="3114844" y="4107426"/>
              <a:ext cx="4003530" cy="2218887"/>
              <a:chOff x="541598" y="3398103"/>
              <a:chExt cx="3614791" cy="2030400"/>
            </a:xfrm>
          </p:grpSpPr>
          <p:cxnSp>
            <p:nvCxnSpPr>
              <p:cNvPr id="1129" name="Google Shape;1129;p20"/>
              <p:cNvCxnSpPr/>
              <p:nvPr/>
            </p:nvCxnSpPr>
            <p:spPr>
              <a:xfrm rot="10800000">
                <a:off x="541598" y="371060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0" name="Google Shape;1130;p20"/>
              <p:cNvCxnSpPr/>
              <p:nvPr/>
            </p:nvCxnSpPr>
            <p:spPr>
              <a:xfrm rot="10800000">
                <a:off x="541598" y="5314122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1" name="Google Shape;1131;p20"/>
              <p:cNvCxnSpPr/>
              <p:nvPr/>
            </p:nvCxnSpPr>
            <p:spPr>
              <a:xfrm rot="10800000">
                <a:off x="541598" y="382987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2" name="Google Shape;1132;p20"/>
              <p:cNvCxnSpPr/>
              <p:nvPr/>
            </p:nvCxnSpPr>
            <p:spPr>
              <a:xfrm rot="10800000">
                <a:off x="66086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3" name="Google Shape;1133;p20"/>
              <p:cNvCxnSpPr/>
              <p:nvPr/>
            </p:nvCxnSpPr>
            <p:spPr>
              <a:xfrm rot="10800000">
                <a:off x="4040172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4" name="Google Shape;1134;p20"/>
              <p:cNvCxnSpPr/>
              <p:nvPr/>
            </p:nvCxnSpPr>
            <p:spPr>
              <a:xfrm rot="10800000">
                <a:off x="235812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</p:grpSp>
      </p:grpSp>
      <p:grpSp>
        <p:nvGrpSpPr>
          <p:cNvPr id="1135" name="Google Shape;1135;p20"/>
          <p:cNvGrpSpPr/>
          <p:nvPr/>
        </p:nvGrpSpPr>
        <p:grpSpPr>
          <a:xfrm>
            <a:off x="7758258" y="4107426"/>
            <a:ext cx="4003530" cy="2231192"/>
            <a:chOff x="7758258" y="4107426"/>
            <a:chExt cx="4003530" cy="2231192"/>
          </a:xfrm>
        </p:grpSpPr>
        <p:pic>
          <p:nvPicPr>
            <p:cNvPr id="1136" name="Google Shape;1136;p20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7770071" y="4107426"/>
              <a:ext cx="3966563" cy="223119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</p:pic>
        <p:grpSp>
          <p:nvGrpSpPr>
            <p:cNvPr id="1137" name="Google Shape;1137;p20"/>
            <p:cNvGrpSpPr/>
            <p:nvPr/>
          </p:nvGrpSpPr>
          <p:grpSpPr>
            <a:xfrm>
              <a:off x="7758258" y="4107426"/>
              <a:ext cx="4003530" cy="2218887"/>
              <a:chOff x="541598" y="3398103"/>
              <a:chExt cx="3614791" cy="2030400"/>
            </a:xfrm>
          </p:grpSpPr>
          <p:cxnSp>
            <p:nvCxnSpPr>
              <p:cNvPr id="1138" name="Google Shape;1138;p20"/>
              <p:cNvCxnSpPr/>
              <p:nvPr/>
            </p:nvCxnSpPr>
            <p:spPr>
              <a:xfrm rot="10800000">
                <a:off x="541598" y="371060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9" name="Google Shape;1139;p20"/>
              <p:cNvCxnSpPr/>
              <p:nvPr/>
            </p:nvCxnSpPr>
            <p:spPr>
              <a:xfrm rot="10800000">
                <a:off x="541598" y="5314122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0" name="Google Shape;1140;p20"/>
              <p:cNvCxnSpPr/>
              <p:nvPr/>
            </p:nvCxnSpPr>
            <p:spPr>
              <a:xfrm rot="10800000">
                <a:off x="541598" y="382987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1" name="Google Shape;1141;p20"/>
              <p:cNvCxnSpPr/>
              <p:nvPr/>
            </p:nvCxnSpPr>
            <p:spPr>
              <a:xfrm rot="10800000">
                <a:off x="66086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2" name="Google Shape;1142;p20"/>
              <p:cNvCxnSpPr/>
              <p:nvPr/>
            </p:nvCxnSpPr>
            <p:spPr>
              <a:xfrm rot="10800000">
                <a:off x="4040172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3" name="Google Shape;1143;p20"/>
              <p:cNvCxnSpPr/>
              <p:nvPr/>
            </p:nvCxnSpPr>
            <p:spPr>
              <a:xfrm rot="10800000">
                <a:off x="1814045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4" name="Google Shape;1144;p20"/>
              <p:cNvCxnSpPr/>
              <p:nvPr/>
            </p:nvCxnSpPr>
            <p:spPr>
              <a:xfrm rot="10800000">
                <a:off x="2969463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5" name="Google Shape;1145;p20"/>
              <p:cNvCxnSpPr/>
              <p:nvPr/>
            </p:nvCxnSpPr>
            <p:spPr>
              <a:xfrm rot="10800000">
                <a:off x="287507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6" name="Google Shape;1146;p20"/>
              <p:cNvCxnSpPr/>
              <p:nvPr/>
            </p:nvCxnSpPr>
            <p:spPr>
              <a:xfrm rot="10800000">
                <a:off x="1743261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</p:grpSp>
      </p:grpSp>
      <p:grpSp>
        <p:nvGrpSpPr>
          <p:cNvPr id="1147" name="Google Shape;1147;p20"/>
          <p:cNvGrpSpPr/>
          <p:nvPr/>
        </p:nvGrpSpPr>
        <p:grpSpPr>
          <a:xfrm>
            <a:off x="5095554" y="2157413"/>
            <a:ext cx="4608000" cy="1404000"/>
            <a:chOff x="5778424" y="2265151"/>
            <a:chExt cx="4608000" cy="1404000"/>
          </a:xfrm>
        </p:grpSpPr>
        <p:sp>
          <p:nvSpPr>
            <p:cNvPr id="1148" name="Google Shape;1148;p20"/>
            <p:cNvSpPr/>
            <p:nvPr/>
          </p:nvSpPr>
          <p:spPr>
            <a:xfrm>
              <a:off x="5778424" y="2265151"/>
              <a:ext cx="4608000" cy="1404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1000" sy="101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49" name="Google Shape;1149;p20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5910997" y="2391151"/>
              <a:ext cx="4342855" cy="115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50" name="Google Shape;1150;p20"/>
            <p:cNvSpPr/>
            <p:nvPr/>
          </p:nvSpPr>
          <p:spPr>
            <a:xfrm>
              <a:off x="9288585" y="2416151"/>
              <a:ext cx="467530" cy="303877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1" name="Google Shape;1151;p20"/>
            <p:cNvSpPr/>
            <p:nvPr/>
          </p:nvSpPr>
          <p:spPr>
            <a:xfrm>
              <a:off x="6252738" y="2692301"/>
              <a:ext cx="540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2" name="Google Shape;1152;p20"/>
            <p:cNvSpPr/>
            <p:nvPr/>
          </p:nvSpPr>
          <p:spPr>
            <a:xfrm>
              <a:off x="6252738" y="3109001"/>
              <a:ext cx="612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8" name="Google Shape;1158;p2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10143236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colour theme</a:t>
            </a:r>
          </a:p>
        </p:txBody>
      </p:sp>
      <p:cxnSp>
        <p:nvCxnSpPr>
          <p:cNvPr id="1159" name="Google Shape;1159;p21"/>
          <p:cNvCxnSpPr/>
          <p:nvPr/>
        </p:nvCxnSpPr>
        <p:spPr>
          <a:xfrm>
            <a:off x="4456762" y="2173030"/>
            <a:ext cx="0" cy="4254758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160" name="Google Shape;1160;p21"/>
          <p:cNvSpPr txBox="1"/>
          <p:nvPr/>
        </p:nvSpPr>
        <p:spPr>
          <a:xfrm>
            <a:off x="6500129" y="3218607"/>
            <a:ext cx="1334619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ain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cent</a:t>
            </a:r>
            <a:endParaRPr lang="en-US" noProof="1"/>
          </a:p>
        </p:txBody>
      </p:sp>
      <p:sp>
        <p:nvSpPr>
          <p:cNvPr id="1161" name="Google Shape;1161;p21"/>
          <p:cNvSpPr/>
          <p:nvPr/>
        </p:nvSpPr>
        <p:spPr>
          <a:xfrm>
            <a:off x="6872824" y="2173030"/>
            <a:ext cx="602773" cy="545895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2" name="Google Shape;1162;p21"/>
          <p:cNvSpPr/>
          <p:nvPr/>
        </p:nvSpPr>
        <p:spPr>
          <a:xfrm>
            <a:off x="9021671" y="2173030"/>
            <a:ext cx="602773" cy="54589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3" name="Google Shape;1163;p21"/>
          <p:cNvSpPr/>
          <p:nvPr/>
        </p:nvSpPr>
        <p:spPr>
          <a:xfrm>
            <a:off x="9736741" y="2173030"/>
            <a:ext cx="602773" cy="54589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4" name="Google Shape;1164;p21"/>
          <p:cNvSpPr/>
          <p:nvPr/>
        </p:nvSpPr>
        <p:spPr>
          <a:xfrm>
            <a:off x="5440259" y="2173030"/>
            <a:ext cx="602773" cy="545895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5" name="Google Shape;1165;p21"/>
          <p:cNvSpPr/>
          <p:nvPr/>
        </p:nvSpPr>
        <p:spPr>
          <a:xfrm>
            <a:off x="8305389" y="2173030"/>
            <a:ext cx="602773" cy="54589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6" name="Google Shape;1166;p21"/>
          <p:cNvSpPr/>
          <p:nvPr/>
        </p:nvSpPr>
        <p:spPr>
          <a:xfrm>
            <a:off x="11169312" y="2173030"/>
            <a:ext cx="602773" cy="54589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7" name="Google Shape;1167;p21"/>
          <p:cNvSpPr/>
          <p:nvPr/>
        </p:nvSpPr>
        <p:spPr>
          <a:xfrm>
            <a:off x="10453025" y="2172971"/>
            <a:ext cx="602773" cy="54512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8" name="Google Shape;1168;p21"/>
          <p:cNvSpPr/>
          <p:nvPr/>
        </p:nvSpPr>
        <p:spPr>
          <a:xfrm>
            <a:off x="7589112" y="2173030"/>
            <a:ext cx="602773" cy="54589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9" name="Google Shape;1169;p21"/>
          <p:cNvSpPr/>
          <p:nvPr/>
        </p:nvSpPr>
        <p:spPr>
          <a:xfrm>
            <a:off x="4723977" y="2173030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0" name="Google Shape;1170;p21"/>
          <p:cNvSpPr/>
          <p:nvPr/>
        </p:nvSpPr>
        <p:spPr>
          <a:xfrm>
            <a:off x="6151988" y="2173030"/>
            <a:ext cx="602773" cy="545895"/>
          </a:xfrm>
          <a:prstGeom prst="rect">
            <a:avLst/>
          </a:prstGeom>
          <a:solidFill>
            <a:schemeClr val="lt2"/>
          </a:solidFill>
          <a:ln w="1077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171" name="Google Shape;1171;p21"/>
          <p:cNvGrpSpPr/>
          <p:nvPr/>
        </p:nvGrpSpPr>
        <p:grpSpPr>
          <a:xfrm>
            <a:off x="6869091" y="2885609"/>
            <a:ext cx="602764" cy="217375"/>
            <a:chOff x="4697470" y="3209373"/>
            <a:chExt cx="433615" cy="163031"/>
          </a:xfrm>
        </p:grpSpPr>
        <p:cxnSp>
          <p:nvCxnSpPr>
            <p:cNvPr id="1172" name="Google Shape;1172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73" name="Google Shape;1173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74" name="Google Shape;1174;p21"/>
          <p:cNvSpPr txBox="1"/>
          <p:nvPr/>
        </p:nvSpPr>
        <p:spPr>
          <a:xfrm>
            <a:off x="428625" y="2157413"/>
            <a:ext cx="2124000" cy="4270367"/>
          </a:xfrm>
          <a:prstGeom prst="rect">
            <a:avLst/>
          </a:prstGeom>
          <a:solidFill>
            <a:schemeClr val="lt1"/>
          </a:solidFill>
          <a:ln>
            <a:noFill/>
          </a:ln>
          <a:effectLst>
            <a:outerShdw blurRad="226714" sx="101000" sy="101000" algn="ctr" rotWithShape="0">
              <a:srgbClr val="000000">
                <a:alpha val="17647"/>
              </a:srgbClr>
            </a:outerShdw>
          </a:effectLst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2286000" marR="0" lvl="5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75" name="Google Shape;1175;p2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17610" y="2406096"/>
            <a:ext cx="1966241" cy="1413236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6" name="Google Shape;1176;p21"/>
          <p:cNvPicPr preferRelativeResize="0"/>
          <p:nvPr/>
        </p:nvPicPr>
        <p:blipFill rotWithShape="1">
          <a:blip r:embed="rId4">
            <a:alphaModFix/>
          </a:blip>
          <a:srcRect b="61547"/>
          <a:stretch/>
        </p:blipFill>
        <p:spPr>
          <a:xfrm>
            <a:off x="511071" y="4046276"/>
            <a:ext cx="1972780" cy="6871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7" name="Google Shape;1177;p21"/>
          <p:cNvPicPr preferRelativeResize="0"/>
          <p:nvPr/>
        </p:nvPicPr>
        <p:blipFill rotWithShape="1">
          <a:blip r:embed="rId4">
            <a:alphaModFix/>
          </a:blip>
          <a:srcRect t="69635"/>
          <a:stretch/>
        </p:blipFill>
        <p:spPr>
          <a:xfrm>
            <a:off x="511071" y="5694748"/>
            <a:ext cx="1972780" cy="542576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8" name="Google Shape;1178;p21"/>
          <p:cNvPicPr preferRelativeResize="0"/>
          <p:nvPr/>
        </p:nvPicPr>
        <p:blipFill rotWithShape="1">
          <a:blip r:embed="rId4">
            <a:alphaModFix/>
          </a:blip>
          <a:srcRect t="40500" b="29135"/>
          <a:stretch/>
        </p:blipFill>
        <p:spPr>
          <a:xfrm>
            <a:off x="511071" y="4936926"/>
            <a:ext cx="1972780" cy="542576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179" name="Google Shape;1179;p21"/>
          <p:cNvGrpSpPr/>
          <p:nvPr/>
        </p:nvGrpSpPr>
        <p:grpSpPr>
          <a:xfrm>
            <a:off x="524672" y="4936926"/>
            <a:ext cx="1959179" cy="1300399"/>
            <a:chOff x="497501" y="3256429"/>
            <a:chExt cx="1873031" cy="1211928"/>
          </a:xfrm>
        </p:grpSpPr>
        <p:sp>
          <p:nvSpPr>
            <p:cNvPr id="1180" name="Google Shape;1180;p21"/>
            <p:cNvSpPr/>
            <p:nvPr/>
          </p:nvSpPr>
          <p:spPr>
            <a:xfrm>
              <a:off x="497501" y="3256429"/>
              <a:ext cx="1873031" cy="1211926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181" name="Google Shape;1181;p21"/>
            <p:cNvCxnSpPr/>
            <p:nvPr/>
          </p:nvCxnSpPr>
          <p:spPr>
            <a:xfrm>
              <a:off x="504098" y="3281637"/>
              <a:ext cx="1866433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182" name="Google Shape;1182;p21"/>
            <p:cNvCxnSpPr/>
            <p:nvPr/>
          </p:nvCxnSpPr>
          <p:spPr>
            <a:xfrm flipH="1">
              <a:off x="528242" y="3281637"/>
              <a:ext cx="1832279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sp>
        <p:nvSpPr>
          <p:cNvPr id="1183" name="Google Shape;1183;p21"/>
          <p:cNvSpPr txBox="1"/>
          <p:nvPr/>
        </p:nvSpPr>
        <p:spPr>
          <a:xfrm>
            <a:off x="3094780" y="2533796"/>
            <a:ext cx="1326145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lways OK!</a:t>
            </a:r>
            <a:endParaRPr lang="en-US" noProof="1"/>
          </a:p>
        </p:txBody>
      </p:sp>
      <p:sp>
        <p:nvSpPr>
          <p:cNvPr id="1184" name="Google Shape;1184;p21"/>
          <p:cNvSpPr txBox="1"/>
          <p:nvPr/>
        </p:nvSpPr>
        <p:spPr>
          <a:xfrm>
            <a:off x="3094781" y="3162271"/>
            <a:ext cx="1109834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Never, please!</a:t>
            </a:r>
            <a:endParaRPr lang="en-US" noProof="1"/>
          </a:p>
        </p:txBody>
      </p:sp>
      <p:sp>
        <p:nvSpPr>
          <p:cNvPr id="1185" name="Google Shape;1185;p21"/>
          <p:cNvSpPr txBox="1"/>
          <p:nvPr/>
        </p:nvSpPr>
        <p:spPr>
          <a:xfrm>
            <a:off x="3094775" y="5362856"/>
            <a:ext cx="1109837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0613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rgbClr val="E30613"/>
                </a:solidFill>
                <a:latin typeface="Arial"/>
                <a:ea typeface="Arial"/>
                <a:cs typeface="Arial"/>
                <a:sym typeface="Arial"/>
              </a:rPr>
              <a:t>Never, please!</a:t>
            </a:r>
            <a:endParaRPr lang="en-US" noProof="1"/>
          </a:p>
        </p:txBody>
      </p:sp>
      <p:grpSp>
        <p:nvGrpSpPr>
          <p:cNvPr id="1186" name="Google Shape;1186;p21"/>
          <p:cNvGrpSpPr/>
          <p:nvPr/>
        </p:nvGrpSpPr>
        <p:grpSpPr>
          <a:xfrm>
            <a:off x="2709977" y="2656723"/>
            <a:ext cx="217375" cy="189729"/>
            <a:chOff x="5954751" y="2230813"/>
            <a:chExt cx="356839" cy="232815"/>
          </a:xfrm>
        </p:grpSpPr>
        <p:cxnSp>
          <p:nvCxnSpPr>
            <p:cNvPr id="1187" name="Google Shape;1187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88" name="Google Shape;1188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189" name="Google Shape;1189;p21"/>
          <p:cNvGrpSpPr/>
          <p:nvPr/>
        </p:nvGrpSpPr>
        <p:grpSpPr>
          <a:xfrm>
            <a:off x="2709977" y="2931578"/>
            <a:ext cx="217375" cy="887752"/>
            <a:chOff x="5954751" y="2230813"/>
            <a:chExt cx="356839" cy="232815"/>
          </a:xfrm>
        </p:grpSpPr>
        <p:cxnSp>
          <p:nvCxnSpPr>
            <p:cNvPr id="1190" name="Google Shape;1190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1" name="Google Shape;1191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192" name="Google Shape;1192;p21"/>
          <p:cNvGrpSpPr/>
          <p:nvPr/>
        </p:nvGrpSpPr>
        <p:grpSpPr>
          <a:xfrm>
            <a:off x="2709977" y="4936926"/>
            <a:ext cx="217375" cy="1313642"/>
            <a:chOff x="5954751" y="2230813"/>
            <a:chExt cx="356839" cy="232815"/>
          </a:xfrm>
        </p:grpSpPr>
        <p:cxnSp>
          <p:nvCxnSpPr>
            <p:cNvPr id="1193" name="Google Shape;1193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4" name="Google Shape;1194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95" name="Google Shape;1195;p21"/>
          <p:cNvSpPr txBox="1"/>
          <p:nvPr/>
        </p:nvSpPr>
        <p:spPr>
          <a:xfrm>
            <a:off x="3094781" y="4179356"/>
            <a:ext cx="1109834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Use selectively and sparingly</a:t>
            </a:r>
            <a:endParaRPr lang="en-US" noProof="1"/>
          </a:p>
        </p:txBody>
      </p:sp>
      <p:grpSp>
        <p:nvGrpSpPr>
          <p:cNvPr id="1196" name="Google Shape;1196;p21"/>
          <p:cNvGrpSpPr/>
          <p:nvPr/>
        </p:nvGrpSpPr>
        <p:grpSpPr>
          <a:xfrm>
            <a:off x="2709977" y="4014659"/>
            <a:ext cx="217375" cy="746773"/>
            <a:chOff x="5954751" y="2230813"/>
            <a:chExt cx="356839" cy="232815"/>
          </a:xfrm>
        </p:grpSpPr>
        <p:cxnSp>
          <p:nvCxnSpPr>
            <p:cNvPr id="1197" name="Google Shape;1197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8" name="Google Shape;1198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99" name="Google Shape;1199;p21"/>
          <p:cNvSpPr/>
          <p:nvPr/>
        </p:nvSpPr>
        <p:spPr>
          <a:xfrm>
            <a:off x="4737229" y="4268539"/>
            <a:ext cx="602773" cy="545895"/>
          </a:xfrm>
          <a:prstGeom prst="rect">
            <a:avLst/>
          </a:prstGeom>
          <a:solidFill>
            <a:srgbClr val="005194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0" name="Google Shape;1200;p21"/>
          <p:cNvSpPr/>
          <p:nvPr/>
        </p:nvSpPr>
        <p:spPr>
          <a:xfrm>
            <a:off x="6886076" y="4268539"/>
            <a:ext cx="602773" cy="545895"/>
          </a:xfrm>
          <a:prstGeom prst="rect">
            <a:avLst/>
          </a:prstGeom>
          <a:solidFill>
            <a:srgbClr val="99B9D4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1" name="Google Shape;1201;p21"/>
          <p:cNvSpPr/>
          <p:nvPr/>
        </p:nvSpPr>
        <p:spPr>
          <a:xfrm>
            <a:off x="6169793" y="4268539"/>
            <a:ext cx="602773" cy="545895"/>
          </a:xfrm>
          <a:prstGeom prst="rect">
            <a:avLst/>
          </a:prstGeom>
          <a:solidFill>
            <a:srgbClr val="6697BF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2" name="Google Shape;1202;p21"/>
          <p:cNvSpPr/>
          <p:nvPr/>
        </p:nvSpPr>
        <p:spPr>
          <a:xfrm>
            <a:off x="5453511" y="4268539"/>
            <a:ext cx="602773" cy="545895"/>
          </a:xfrm>
          <a:prstGeom prst="rect">
            <a:avLst/>
          </a:prstGeom>
          <a:solidFill>
            <a:srgbClr val="3374A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3" name="Google Shape;1203;p21"/>
          <p:cNvSpPr/>
          <p:nvPr/>
        </p:nvSpPr>
        <p:spPr>
          <a:xfrm>
            <a:off x="9034923" y="4268539"/>
            <a:ext cx="602773" cy="545895"/>
          </a:xfrm>
          <a:prstGeom prst="rect">
            <a:avLst/>
          </a:prstGeom>
          <a:solidFill>
            <a:srgbClr val="F39800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4" name="Google Shape;1204;p21"/>
          <p:cNvSpPr/>
          <p:nvPr/>
        </p:nvSpPr>
        <p:spPr>
          <a:xfrm>
            <a:off x="9749993" y="4268539"/>
            <a:ext cx="602773" cy="545895"/>
          </a:xfrm>
          <a:prstGeom prst="rect">
            <a:avLst/>
          </a:prstGeom>
          <a:solidFill>
            <a:srgbClr val="F5AD33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5" name="Google Shape;1205;p21"/>
          <p:cNvSpPr/>
          <p:nvPr/>
        </p:nvSpPr>
        <p:spPr>
          <a:xfrm>
            <a:off x="10466277" y="4268539"/>
            <a:ext cx="602773" cy="545895"/>
          </a:xfrm>
          <a:prstGeom prst="rect">
            <a:avLst/>
          </a:prstGeom>
          <a:solidFill>
            <a:srgbClr val="F8C166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6" name="Google Shape;1206;p21"/>
          <p:cNvSpPr/>
          <p:nvPr/>
        </p:nvSpPr>
        <p:spPr>
          <a:xfrm>
            <a:off x="11182564" y="4268539"/>
            <a:ext cx="602773" cy="545895"/>
          </a:xfrm>
          <a:prstGeom prst="rect">
            <a:avLst/>
          </a:prstGeom>
          <a:solidFill>
            <a:srgbClr val="FAD69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7" name="Google Shape;1207;p21"/>
          <p:cNvSpPr/>
          <p:nvPr/>
        </p:nvSpPr>
        <p:spPr>
          <a:xfrm>
            <a:off x="4737229" y="4931149"/>
            <a:ext cx="602773" cy="545895"/>
          </a:xfrm>
          <a:prstGeom prst="rect">
            <a:avLst/>
          </a:prstGeom>
          <a:solidFill>
            <a:srgbClr val="005D3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8" name="Google Shape;1208;p21"/>
          <p:cNvSpPr/>
          <p:nvPr/>
        </p:nvSpPr>
        <p:spPr>
          <a:xfrm>
            <a:off x="6886076" y="4931149"/>
            <a:ext cx="602773" cy="545895"/>
          </a:xfrm>
          <a:prstGeom prst="rect">
            <a:avLst/>
          </a:prstGeom>
          <a:solidFill>
            <a:srgbClr val="99BEB0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9" name="Google Shape;1209;p21"/>
          <p:cNvSpPr/>
          <p:nvPr/>
        </p:nvSpPr>
        <p:spPr>
          <a:xfrm>
            <a:off x="6169793" y="4931149"/>
            <a:ext cx="602773" cy="545895"/>
          </a:xfrm>
          <a:prstGeom prst="rect">
            <a:avLst/>
          </a:prstGeom>
          <a:solidFill>
            <a:srgbClr val="669E88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0" name="Google Shape;1210;p21"/>
          <p:cNvSpPr/>
          <p:nvPr/>
        </p:nvSpPr>
        <p:spPr>
          <a:xfrm>
            <a:off x="5453511" y="4931149"/>
            <a:ext cx="602773" cy="545895"/>
          </a:xfrm>
          <a:prstGeom prst="rect">
            <a:avLst/>
          </a:prstGeom>
          <a:solidFill>
            <a:srgbClr val="337D6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1" name="Google Shape;1211;p21"/>
          <p:cNvSpPr/>
          <p:nvPr/>
        </p:nvSpPr>
        <p:spPr>
          <a:xfrm>
            <a:off x="9034923" y="4931149"/>
            <a:ext cx="602773" cy="545895"/>
          </a:xfrm>
          <a:prstGeom prst="rect">
            <a:avLst/>
          </a:prstGeom>
          <a:solidFill>
            <a:srgbClr val="5C154F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2" name="Google Shape;1212;p21"/>
          <p:cNvSpPr/>
          <p:nvPr/>
        </p:nvSpPr>
        <p:spPr>
          <a:xfrm>
            <a:off x="9749993" y="4931149"/>
            <a:ext cx="602773" cy="545895"/>
          </a:xfrm>
          <a:prstGeom prst="rect">
            <a:avLst/>
          </a:prstGeom>
          <a:solidFill>
            <a:srgbClr val="7D4472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3" name="Google Shape;1213;p21"/>
          <p:cNvSpPr/>
          <p:nvPr/>
        </p:nvSpPr>
        <p:spPr>
          <a:xfrm>
            <a:off x="10466277" y="4931149"/>
            <a:ext cx="602773" cy="545895"/>
          </a:xfrm>
          <a:prstGeom prst="rect">
            <a:avLst/>
          </a:prstGeom>
          <a:solidFill>
            <a:srgbClr val="9D7395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4" name="Google Shape;1214;p21"/>
          <p:cNvSpPr/>
          <p:nvPr/>
        </p:nvSpPr>
        <p:spPr>
          <a:xfrm>
            <a:off x="11182564" y="4931149"/>
            <a:ext cx="602773" cy="545895"/>
          </a:xfrm>
          <a:prstGeom prst="rect">
            <a:avLst/>
          </a:prstGeom>
          <a:solidFill>
            <a:srgbClr val="BEA1B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215" name="Google Shape;1215;p21"/>
          <p:cNvCxnSpPr/>
          <p:nvPr/>
        </p:nvCxnSpPr>
        <p:spPr>
          <a:xfrm>
            <a:off x="4761918" y="3930778"/>
            <a:ext cx="7001457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grpSp>
        <p:nvGrpSpPr>
          <p:cNvPr id="1216" name="Google Shape;1216;p21"/>
          <p:cNvGrpSpPr/>
          <p:nvPr/>
        </p:nvGrpSpPr>
        <p:grpSpPr>
          <a:xfrm>
            <a:off x="553276" y="2905313"/>
            <a:ext cx="1873031" cy="853200"/>
            <a:chOff x="497501" y="3256429"/>
            <a:chExt cx="1873031" cy="1211928"/>
          </a:xfrm>
        </p:grpSpPr>
        <p:sp>
          <p:nvSpPr>
            <p:cNvPr id="1217" name="Google Shape;1217;p21"/>
            <p:cNvSpPr/>
            <p:nvPr/>
          </p:nvSpPr>
          <p:spPr>
            <a:xfrm>
              <a:off x="497501" y="3256429"/>
              <a:ext cx="1873031" cy="1211926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218" name="Google Shape;1218;p21"/>
            <p:cNvCxnSpPr/>
            <p:nvPr/>
          </p:nvCxnSpPr>
          <p:spPr>
            <a:xfrm>
              <a:off x="504098" y="3281637"/>
              <a:ext cx="1866433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219" name="Google Shape;1219;p21"/>
            <p:cNvCxnSpPr/>
            <p:nvPr/>
          </p:nvCxnSpPr>
          <p:spPr>
            <a:xfrm flipH="1">
              <a:off x="528242" y="3281637"/>
              <a:ext cx="1832279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grpSp>
        <p:nvGrpSpPr>
          <p:cNvPr id="1220" name="Google Shape;1220;p21"/>
          <p:cNvGrpSpPr/>
          <p:nvPr/>
        </p:nvGrpSpPr>
        <p:grpSpPr>
          <a:xfrm>
            <a:off x="4718719" y="2885609"/>
            <a:ext cx="1324291" cy="217375"/>
            <a:chOff x="4697470" y="3209373"/>
            <a:chExt cx="433615" cy="163031"/>
          </a:xfrm>
        </p:grpSpPr>
        <p:cxnSp>
          <p:nvCxnSpPr>
            <p:cNvPr id="1221" name="Google Shape;1221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22" name="Google Shape;1222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23" name="Google Shape;1223;p21"/>
          <p:cNvSpPr txBox="1"/>
          <p:nvPr/>
        </p:nvSpPr>
        <p:spPr>
          <a:xfrm>
            <a:off x="4723977" y="3218607"/>
            <a:ext cx="131903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efault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ext colours</a:t>
            </a:r>
            <a:endParaRPr lang="en-US" noProof="1"/>
          </a:p>
        </p:txBody>
      </p:sp>
      <p:sp>
        <p:nvSpPr>
          <p:cNvPr id="1224" name="Google Shape;1224;p21"/>
          <p:cNvSpPr txBox="1"/>
          <p:nvPr/>
        </p:nvSpPr>
        <p:spPr>
          <a:xfrm>
            <a:off x="8406381" y="3218607"/>
            <a:ext cx="2520000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  <p:grpSp>
        <p:nvGrpSpPr>
          <p:cNvPr id="1225" name="Google Shape;1225;p21"/>
          <p:cNvGrpSpPr/>
          <p:nvPr/>
        </p:nvGrpSpPr>
        <p:grpSpPr>
          <a:xfrm>
            <a:off x="7589117" y="2885609"/>
            <a:ext cx="4159413" cy="217375"/>
            <a:chOff x="4697470" y="3209373"/>
            <a:chExt cx="433615" cy="163031"/>
          </a:xfrm>
        </p:grpSpPr>
        <p:cxnSp>
          <p:nvCxnSpPr>
            <p:cNvPr id="1226" name="Google Shape;1226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27" name="Google Shape;1227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228" name="Google Shape;1228;p21"/>
          <p:cNvGrpSpPr/>
          <p:nvPr/>
        </p:nvGrpSpPr>
        <p:grpSpPr>
          <a:xfrm>
            <a:off x="4718720" y="5661457"/>
            <a:ext cx="2770131" cy="217375"/>
            <a:chOff x="4697470" y="3209373"/>
            <a:chExt cx="433615" cy="163031"/>
          </a:xfrm>
        </p:grpSpPr>
        <p:cxnSp>
          <p:nvCxnSpPr>
            <p:cNvPr id="1229" name="Google Shape;1229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30" name="Google Shape;1230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31" name="Google Shape;1231;p21"/>
          <p:cNvSpPr txBox="1"/>
          <p:nvPr/>
        </p:nvSpPr>
        <p:spPr>
          <a:xfrm>
            <a:off x="4737229" y="5994455"/>
            <a:ext cx="275162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  <p:sp>
        <p:nvSpPr>
          <p:cNvPr id="1232" name="Google Shape;1232;p21"/>
          <p:cNvSpPr/>
          <p:nvPr/>
        </p:nvSpPr>
        <p:spPr>
          <a:xfrm>
            <a:off x="8305389" y="426853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3" name="Google Shape;1233;p21"/>
          <p:cNvSpPr/>
          <p:nvPr/>
        </p:nvSpPr>
        <p:spPr>
          <a:xfrm>
            <a:off x="7589106" y="426853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4" name="Google Shape;1234;p21"/>
          <p:cNvSpPr/>
          <p:nvPr/>
        </p:nvSpPr>
        <p:spPr>
          <a:xfrm>
            <a:off x="8305389" y="493114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5" name="Google Shape;1235;p21"/>
          <p:cNvSpPr/>
          <p:nvPr/>
        </p:nvSpPr>
        <p:spPr>
          <a:xfrm>
            <a:off x="7589106" y="493114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236" name="Google Shape;1236;p21"/>
          <p:cNvGrpSpPr/>
          <p:nvPr/>
        </p:nvGrpSpPr>
        <p:grpSpPr>
          <a:xfrm>
            <a:off x="9015205" y="5661457"/>
            <a:ext cx="2770131" cy="217375"/>
            <a:chOff x="4697470" y="3209373"/>
            <a:chExt cx="433615" cy="163031"/>
          </a:xfrm>
        </p:grpSpPr>
        <p:cxnSp>
          <p:nvCxnSpPr>
            <p:cNvPr id="1237" name="Google Shape;1237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38" name="Google Shape;1238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39" name="Google Shape;1239;p21"/>
          <p:cNvSpPr txBox="1"/>
          <p:nvPr/>
        </p:nvSpPr>
        <p:spPr>
          <a:xfrm>
            <a:off x="9033714" y="5994455"/>
            <a:ext cx="275162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" name="Google Shape;214;p3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342900" indent="-342900">
              <a:spcBef>
                <a:spcPts val="0"/>
              </a:spcBef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Introduction </a:t>
            </a:r>
          </a:p>
          <a:p>
            <a:pPr marL="342900" indent="-342900">
              <a:spcBef>
                <a:spcPts val="0"/>
              </a:spcBef>
            </a:pPr>
            <a:endParaRPr lang="en-US" noProof="1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342900" indent="-342900">
              <a:spcBef>
                <a:spcPts val="0"/>
              </a:spcBef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Vietnamese history</a:t>
            </a:r>
          </a:p>
          <a:p>
            <a:pPr marL="342900" indent="-342900">
              <a:spcBef>
                <a:spcPts val="0"/>
              </a:spcBef>
            </a:pPr>
            <a:endParaRPr lang="en-US" noProof="1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342900" indent="-342900">
              <a:spcBef>
                <a:spcPts val="0"/>
              </a:spcBef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Culture and art</a:t>
            </a:r>
          </a:p>
          <a:p>
            <a:pPr marL="342900" indent="-342900">
              <a:spcBef>
                <a:spcPts val="0"/>
              </a:spcBef>
            </a:pPr>
            <a:endParaRPr lang="en-US" noProof="1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342900" indent="-342900">
              <a:spcBef>
                <a:spcPts val="0"/>
              </a:spcBef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Special collection</a:t>
            </a:r>
          </a:p>
          <a:p>
            <a:pPr marL="342900" indent="-342900">
              <a:spcBef>
                <a:spcPts val="0"/>
              </a:spcBef>
            </a:pPr>
            <a:endParaRPr lang="en-US" noProof="1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342900" indent="-342900">
              <a:spcBef>
                <a:spcPts val="0"/>
              </a:spcBef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Conclusion</a:t>
            </a:r>
          </a:p>
        </p:txBody>
      </p:sp>
      <p:sp>
        <p:nvSpPr>
          <p:cNvPr id="215" name="Google Shape;215;p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>
                <a:latin typeface="+mn-lt"/>
                <a:cs typeface="Segoe UI Semibold" panose="020B0702040204020203" pitchFamily="34" charset="0"/>
              </a:rPr>
              <a:t>Agenda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8B3586F-F47B-138B-6640-31C70EF702FB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33304A4-5983-EE9A-9C35-F038A4E966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95686" y="1098000"/>
            <a:ext cx="6196314" cy="5797721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9B0D693-42D5-3C0F-5ED4-40522D2C12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EF648B22-9BC3-A38D-EECF-81EDB4845C6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E1F6CD6B-1F52-35AC-8E87-6337B4A107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>
                <a:solidFill>
                  <a:srgbClr val="C00000"/>
                </a:solidFill>
              </a:rPr>
              <a:t>What is </a:t>
            </a:r>
            <a:r>
              <a:rPr lang="en-US" dirty="0">
                <a:solidFill>
                  <a:srgbClr val="C00000"/>
                </a:solidFill>
              </a:rPr>
              <a:t>Ho Chi Minh City Museum of History</a:t>
            </a:r>
            <a:r>
              <a:rPr lang="en-GB" dirty="0">
                <a:solidFill>
                  <a:srgbClr val="C00000"/>
                </a:solidFill>
              </a:rPr>
              <a:t>?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CCE0C7-F39C-A9B7-EFD4-CECED4307FF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vi-VN" dirty="0">
                <a:solidFill>
                  <a:srgbClr val="C00000"/>
                </a:solidFill>
              </a:rPr>
              <a:t>INTRODUCTION</a:t>
            </a:r>
            <a:endParaRPr lang="en-GB" dirty="0">
              <a:solidFill>
                <a:srgbClr val="C00000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2BFE1F-8FB4-F603-3459-03976EA7E41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1039521"/>
            <a:ext cx="12192000" cy="3512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2589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9E9E7B5-BDF1-4F3B-5DC4-0AD36B6113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99" y="2059577"/>
            <a:ext cx="5232200" cy="4267788"/>
          </a:xfrm>
        </p:spPr>
        <p:txBody>
          <a:bodyPr/>
          <a:lstStyle/>
          <a:p>
            <a:pPr marL="669323" lvl="1" indent="-334662">
              <a:lnSpc>
                <a:spcPct val="100000"/>
              </a:lnSpc>
            </a:pPr>
            <a:r>
              <a:rPr lang="en-US" dirty="0">
                <a:solidFill>
                  <a:srgbClr val="333333"/>
                </a:solidFill>
              </a:rPr>
              <a:t>a major historical and cultural museum</a:t>
            </a:r>
          </a:p>
          <a:p>
            <a:pPr marL="669323" lvl="1" indent="-334662">
              <a:lnSpc>
                <a:spcPct val="100000"/>
              </a:lnSpc>
            </a:pPr>
            <a:r>
              <a:rPr lang="en-US" dirty="0"/>
              <a:t>Overview</a:t>
            </a:r>
            <a:r>
              <a:rPr lang="en-US" dirty="0">
                <a:solidFill>
                  <a:srgbClr val="333333"/>
                </a:solidFill>
                <a:ea typeface="Arial"/>
                <a:cs typeface="Arial"/>
                <a:sym typeface="Arial"/>
              </a:rPr>
              <a:t>: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r>
              <a:rPr lang="en-US" dirty="0"/>
              <a:t>Reflects the 18 major historical periods of Vietnam.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r>
              <a:rPr lang="en-US" dirty="0"/>
              <a:t>To preserve and display Vietnam’s cultural and historical heritage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r>
              <a:rPr lang="en-US" dirty="0">
                <a:solidFill>
                  <a:srgbClr val="333333"/>
                </a:solidFill>
              </a:rPr>
              <a:t>Located at 2 Nguyễn </a:t>
            </a:r>
            <a:r>
              <a:rPr lang="en-US" dirty="0" err="1">
                <a:solidFill>
                  <a:srgbClr val="333333"/>
                </a:solidFill>
              </a:rPr>
              <a:t>Bỉnh</a:t>
            </a:r>
            <a:r>
              <a:rPr lang="en-US" dirty="0">
                <a:solidFill>
                  <a:srgbClr val="333333"/>
                </a:solidFill>
              </a:rPr>
              <a:t> Khiêm Street, </a:t>
            </a:r>
            <a:r>
              <a:rPr lang="en-US" dirty="0" err="1">
                <a:solidFill>
                  <a:srgbClr val="333333"/>
                </a:solidFill>
              </a:rPr>
              <a:t>Bến</a:t>
            </a:r>
            <a:r>
              <a:rPr lang="en-US" dirty="0">
                <a:solidFill>
                  <a:srgbClr val="333333"/>
                </a:solidFill>
              </a:rPr>
              <a:t> </a:t>
            </a:r>
            <a:r>
              <a:rPr lang="en-US" dirty="0" err="1">
                <a:solidFill>
                  <a:srgbClr val="333333"/>
                </a:solidFill>
              </a:rPr>
              <a:t>Nghé</a:t>
            </a:r>
            <a:r>
              <a:rPr lang="en-US" dirty="0">
                <a:solidFill>
                  <a:srgbClr val="333333"/>
                </a:solidFill>
              </a:rPr>
              <a:t> Ward, District 1, Ho Chi Minh City</a:t>
            </a:r>
            <a:endParaRPr lang="en-US" dirty="0"/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endParaRPr lang="en-US" dirty="0"/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endParaRPr lang="en-US" dirty="0">
              <a:solidFill>
                <a:srgbClr val="333333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521DB2E-AD64-0680-8783-D12FD58E835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999" y="1146704"/>
            <a:ext cx="5232200" cy="666000"/>
          </a:xfrm>
        </p:spPr>
        <p:txBody>
          <a:bodyPr/>
          <a:lstStyle/>
          <a:p>
            <a:r>
              <a:rPr lang="en-US" dirty="0"/>
              <a:t>What is Ho Chi Minh City Museum of History ?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5096EED-E4A7-AF91-27B1-EB89B3B3A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B83BFEF-2BF7-1D43-4FEB-CFB04DD18D0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b="21591"/>
          <a:stretch>
            <a:fillRect/>
          </a:stretch>
        </p:blipFill>
        <p:spPr>
          <a:xfrm>
            <a:off x="7808209" y="1142921"/>
            <a:ext cx="4383791" cy="5715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16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2FC199-330E-141D-A742-54869E2990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1DC9F5A-3A55-B22A-D110-475FEBF6684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21A2290F-7986-5944-9CFF-05391B79715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71BB30C-8163-DA83-C74B-645CDE3BB21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>
                <a:solidFill>
                  <a:srgbClr val="C00000"/>
                </a:solidFill>
              </a:rPr>
              <a:t>VIET NAM HISTORY</a:t>
            </a:r>
            <a:endParaRPr lang="en-GB" dirty="0">
              <a:solidFill>
                <a:srgbClr val="C00000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F31318E-7410-DAF4-D495-027CE2C1FAE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1039521"/>
            <a:ext cx="12192000" cy="3512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9681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0B40E9D-62AD-47D2-8C55-F2F6BD0EC4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342900" indent="-342900"/>
            <a:r>
              <a:rPr lang="en-US" noProof="1">
                <a:latin typeface="+mn-lt"/>
                <a:cs typeface="Segoe UI Semibold" panose="020B0702040204020203" pitchFamily="34" charset="0"/>
              </a:rPr>
              <a:t>Vietnamese historical timeline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D060F6B6-4B6A-D378-180D-A31236CC999D}"/>
              </a:ext>
            </a:extLst>
          </p:cNvPr>
          <p:cNvGrpSpPr/>
          <p:nvPr/>
        </p:nvGrpSpPr>
        <p:grpSpPr>
          <a:xfrm>
            <a:off x="972181" y="1225388"/>
            <a:ext cx="9339243" cy="4351999"/>
            <a:chOff x="424244" y="1680412"/>
            <a:chExt cx="8235887" cy="3837845"/>
          </a:xfrm>
        </p:grpSpPr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AFD2FE7C-0E7A-CC2E-6012-CCAE68A397F7}"/>
                </a:ext>
              </a:extLst>
            </p:cNvPr>
            <p:cNvSpPr txBox="1"/>
            <p:nvPr/>
          </p:nvSpPr>
          <p:spPr>
            <a:xfrm>
              <a:off x="2828109" y="1680412"/>
              <a:ext cx="1863438" cy="2171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lvl="0" algn="ctr">
                <a:spcBef>
                  <a:spcPts val="600"/>
                </a:spcBef>
              </a:pPr>
              <a:r>
                <a: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y dynasty</a:t>
              </a: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3E699080-1F1C-90DD-5FD3-58FFF32463CD}"/>
                </a:ext>
              </a:extLst>
            </p:cNvPr>
            <p:cNvGrpSpPr/>
            <p:nvPr/>
          </p:nvGrpSpPr>
          <p:grpSpPr>
            <a:xfrm>
              <a:off x="424244" y="2311852"/>
              <a:ext cx="8235887" cy="3206405"/>
              <a:chOff x="193949" y="2163827"/>
              <a:chExt cx="8552620" cy="3329715"/>
            </a:xfrm>
          </p:grpSpPr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8AFC57C2-656C-4A85-B351-07AD9F2AFB09}"/>
                  </a:ext>
                </a:extLst>
              </p:cNvPr>
              <p:cNvSpPr/>
              <p:nvPr/>
            </p:nvSpPr>
            <p:spPr>
              <a:xfrm>
                <a:off x="368290" y="3811378"/>
                <a:ext cx="8378279" cy="136035"/>
              </a:xfrm>
              <a:custGeom>
                <a:avLst/>
                <a:gdLst>
                  <a:gd name="connsiteX0" fmla="*/ 11421014 w 11460220"/>
                  <a:gd name="connsiteY0" fmla="*/ 0 h 89089"/>
                  <a:gd name="connsiteX1" fmla="*/ 11460221 w 11460220"/>
                  <a:gd name="connsiteY1" fmla="*/ 0 h 89089"/>
                  <a:gd name="connsiteX2" fmla="*/ 11460221 w 11460220"/>
                  <a:gd name="connsiteY2" fmla="*/ 89089 h 89089"/>
                  <a:gd name="connsiteX3" fmla="*/ 11421014 w 11460220"/>
                  <a:gd name="connsiteY3" fmla="*/ 89089 h 89089"/>
                  <a:gd name="connsiteX4" fmla="*/ 39206 w 11460220"/>
                  <a:gd name="connsiteY4" fmla="*/ 89089 h 89089"/>
                  <a:gd name="connsiteX5" fmla="*/ 0 w 11460220"/>
                  <a:gd name="connsiteY5" fmla="*/ 89089 h 89089"/>
                  <a:gd name="connsiteX6" fmla="*/ 0 w 11460220"/>
                  <a:gd name="connsiteY6" fmla="*/ 0 h 89089"/>
                  <a:gd name="connsiteX7" fmla="*/ 39206 w 11460220"/>
                  <a:gd name="connsiteY7" fmla="*/ 0 h 89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460220" h="89089">
                    <a:moveTo>
                      <a:pt x="11421014" y="0"/>
                    </a:moveTo>
                    <a:cubicBezTo>
                      <a:pt x="11442667" y="0"/>
                      <a:pt x="11460221" y="0"/>
                      <a:pt x="11460221" y="0"/>
                    </a:cubicBezTo>
                    <a:lnTo>
                      <a:pt x="11460221" y="89089"/>
                    </a:lnTo>
                    <a:cubicBezTo>
                      <a:pt x="11460221" y="89089"/>
                      <a:pt x="11442668" y="89089"/>
                      <a:pt x="11421014" y="89089"/>
                    </a:cubicBezTo>
                    <a:lnTo>
                      <a:pt x="39206" y="89089"/>
                    </a:lnTo>
                    <a:cubicBezTo>
                      <a:pt x="17553" y="89089"/>
                      <a:pt x="0" y="89089"/>
                      <a:pt x="0" y="89089"/>
                    </a:cubicBezTo>
                    <a:lnTo>
                      <a:pt x="0" y="0"/>
                    </a:lnTo>
                    <a:cubicBezTo>
                      <a:pt x="0" y="0"/>
                      <a:pt x="17553" y="0"/>
                      <a:pt x="39206" y="0"/>
                    </a:cubicBezTo>
                    <a:close/>
                  </a:path>
                </a:pathLst>
              </a:custGeom>
              <a:solidFill>
                <a:schemeClr val="tx1"/>
              </a:solidFill>
              <a:ln w="24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6D0377E1-7E00-EB0A-3C32-FB01C7119003}"/>
                  </a:ext>
                </a:extLst>
              </p:cNvPr>
              <p:cNvSpPr/>
              <p:nvPr/>
            </p:nvSpPr>
            <p:spPr>
              <a:xfrm rot="20818201">
                <a:off x="668179" y="3746621"/>
                <a:ext cx="221136" cy="221136"/>
              </a:xfrm>
              <a:custGeom>
                <a:avLst/>
                <a:gdLst>
                  <a:gd name="connsiteX0" fmla="*/ 221077 w 221135"/>
                  <a:gd name="connsiteY0" fmla="*/ 110418 h 221135"/>
                  <a:gd name="connsiteX1" fmla="*/ 110509 w 221135"/>
                  <a:gd name="connsiteY1" fmla="*/ 220986 h 221135"/>
                  <a:gd name="connsiteX2" fmla="*/ -58 w 221135"/>
                  <a:gd name="connsiteY2" fmla="*/ 110418 h 221135"/>
                  <a:gd name="connsiteX3" fmla="*/ 110509 w 221135"/>
                  <a:gd name="connsiteY3" fmla="*/ -149 h 221135"/>
                  <a:gd name="connsiteX4" fmla="*/ 221077 w 221135"/>
                  <a:gd name="connsiteY4" fmla="*/ 110418 h 221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1135" h="221135">
                    <a:moveTo>
                      <a:pt x="221077" y="110418"/>
                    </a:moveTo>
                    <a:cubicBezTo>
                      <a:pt x="221077" y="171483"/>
                      <a:pt x="171574" y="220986"/>
                      <a:pt x="110509" y="220986"/>
                    </a:cubicBezTo>
                    <a:cubicBezTo>
                      <a:pt x="49445" y="220986"/>
                      <a:pt x="-58" y="171483"/>
                      <a:pt x="-58" y="110418"/>
                    </a:cubicBezTo>
                    <a:cubicBezTo>
                      <a:pt x="-58" y="49354"/>
                      <a:pt x="49445" y="-149"/>
                      <a:pt x="110509" y="-149"/>
                    </a:cubicBezTo>
                    <a:cubicBezTo>
                      <a:pt x="171574" y="-149"/>
                      <a:pt x="221077" y="49354"/>
                      <a:pt x="221077" y="110418"/>
                    </a:cubicBezTo>
                    <a:close/>
                  </a:path>
                </a:pathLst>
              </a:custGeom>
              <a:solidFill>
                <a:schemeClr val="bg2">
                  <a:lumMod val="60000"/>
                  <a:lumOff val="40000"/>
                </a:schemeClr>
              </a:solidFill>
              <a:ln w="24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solidFill>
                    <a:srgbClr val="FF0000"/>
                  </a:solidFill>
                  <a:highlight>
                    <a:srgbClr val="FFFF00"/>
                  </a:highlight>
                </a:endParaRPr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F7E5563F-7CD3-6492-0693-A135F3B5C07A}"/>
                  </a:ext>
                </a:extLst>
              </p:cNvPr>
              <p:cNvSpPr/>
              <p:nvPr/>
            </p:nvSpPr>
            <p:spPr>
              <a:xfrm>
                <a:off x="749574" y="3938924"/>
                <a:ext cx="58359" cy="452171"/>
              </a:xfrm>
              <a:custGeom>
                <a:avLst/>
                <a:gdLst>
                  <a:gd name="connsiteX0" fmla="*/ 0 w 58359"/>
                  <a:gd name="connsiteY0" fmla="*/ 0 h 452171"/>
                  <a:gd name="connsiteX1" fmla="*/ 58359 w 58359"/>
                  <a:gd name="connsiteY1" fmla="*/ 0 h 452171"/>
                  <a:gd name="connsiteX2" fmla="*/ 58359 w 58359"/>
                  <a:gd name="connsiteY2" fmla="*/ 452172 h 452171"/>
                  <a:gd name="connsiteX3" fmla="*/ 0 w 58359"/>
                  <a:gd name="connsiteY3" fmla="*/ 452172 h 4521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8359" h="452171">
                    <a:moveTo>
                      <a:pt x="0" y="0"/>
                    </a:moveTo>
                    <a:lnTo>
                      <a:pt x="58359" y="0"/>
                    </a:lnTo>
                    <a:lnTo>
                      <a:pt x="58359" y="452172"/>
                    </a:lnTo>
                    <a:lnTo>
                      <a:pt x="0" y="452172"/>
                    </a:lnTo>
                    <a:close/>
                  </a:path>
                </a:pathLst>
              </a:custGeom>
              <a:solidFill>
                <a:schemeClr val="bg2">
                  <a:lumMod val="60000"/>
                  <a:lumOff val="40000"/>
                </a:schemeClr>
              </a:solidFill>
              <a:ln w="24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C0389F07-5489-E8BD-DD98-FE634D33D63B}"/>
                  </a:ext>
                </a:extLst>
              </p:cNvPr>
              <p:cNvSpPr/>
              <p:nvPr/>
            </p:nvSpPr>
            <p:spPr>
              <a:xfrm rot="18900000">
                <a:off x="2599974" y="3746602"/>
                <a:ext cx="221136" cy="221136"/>
              </a:xfrm>
              <a:custGeom>
                <a:avLst/>
                <a:gdLst>
                  <a:gd name="connsiteX0" fmla="*/ 221077 w 221135"/>
                  <a:gd name="connsiteY0" fmla="*/ 110418 h 221135"/>
                  <a:gd name="connsiteX1" fmla="*/ 110510 w 221135"/>
                  <a:gd name="connsiteY1" fmla="*/ 220986 h 221135"/>
                  <a:gd name="connsiteX2" fmla="*/ -58 w 221135"/>
                  <a:gd name="connsiteY2" fmla="*/ 110418 h 221135"/>
                  <a:gd name="connsiteX3" fmla="*/ 110510 w 221135"/>
                  <a:gd name="connsiteY3" fmla="*/ -149 h 221135"/>
                  <a:gd name="connsiteX4" fmla="*/ 221077 w 221135"/>
                  <a:gd name="connsiteY4" fmla="*/ 110418 h 221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1135" h="221135">
                    <a:moveTo>
                      <a:pt x="221077" y="110418"/>
                    </a:moveTo>
                    <a:cubicBezTo>
                      <a:pt x="221077" y="171483"/>
                      <a:pt x="171574" y="220986"/>
                      <a:pt x="110510" y="220986"/>
                    </a:cubicBezTo>
                    <a:cubicBezTo>
                      <a:pt x="49445" y="220986"/>
                      <a:pt x="-58" y="171483"/>
                      <a:pt x="-58" y="110418"/>
                    </a:cubicBezTo>
                    <a:cubicBezTo>
                      <a:pt x="-58" y="49354"/>
                      <a:pt x="49445" y="-149"/>
                      <a:pt x="110510" y="-149"/>
                    </a:cubicBezTo>
                    <a:cubicBezTo>
                      <a:pt x="171574" y="-149"/>
                      <a:pt x="221077" y="49354"/>
                      <a:pt x="221077" y="110418"/>
                    </a:cubicBezTo>
                    <a:close/>
                  </a:path>
                </a:pathLst>
              </a:custGeom>
              <a:solidFill>
                <a:schemeClr val="bg2">
                  <a:lumMod val="60000"/>
                  <a:lumOff val="40000"/>
                </a:schemeClr>
              </a:solidFill>
              <a:ln w="24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F6E40D2D-81CB-3909-7C08-17B506C3BEF6}"/>
                  </a:ext>
                </a:extLst>
              </p:cNvPr>
              <p:cNvSpPr/>
              <p:nvPr/>
            </p:nvSpPr>
            <p:spPr>
              <a:xfrm>
                <a:off x="2681357" y="3938924"/>
                <a:ext cx="58359" cy="452171"/>
              </a:xfrm>
              <a:custGeom>
                <a:avLst/>
                <a:gdLst>
                  <a:gd name="connsiteX0" fmla="*/ 0 w 58359"/>
                  <a:gd name="connsiteY0" fmla="*/ 0 h 452171"/>
                  <a:gd name="connsiteX1" fmla="*/ 58359 w 58359"/>
                  <a:gd name="connsiteY1" fmla="*/ 0 h 452171"/>
                  <a:gd name="connsiteX2" fmla="*/ 58359 w 58359"/>
                  <a:gd name="connsiteY2" fmla="*/ 452172 h 452171"/>
                  <a:gd name="connsiteX3" fmla="*/ 0 w 58359"/>
                  <a:gd name="connsiteY3" fmla="*/ 452172 h 4521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8359" h="452171">
                    <a:moveTo>
                      <a:pt x="0" y="0"/>
                    </a:moveTo>
                    <a:lnTo>
                      <a:pt x="58359" y="0"/>
                    </a:lnTo>
                    <a:lnTo>
                      <a:pt x="58359" y="452172"/>
                    </a:lnTo>
                    <a:lnTo>
                      <a:pt x="0" y="452172"/>
                    </a:lnTo>
                    <a:close/>
                  </a:path>
                </a:pathLst>
              </a:custGeom>
              <a:solidFill>
                <a:schemeClr val="bg2">
                  <a:lumMod val="60000"/>
                  <a:lumOff val="40000"/>
                </a:schemeClr>
              </a:solidFill>
              <a:ln w="24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5B3D71B3-E825-D87C-BF94-8DCE1BF0472C}"/>
                  </a:ext>
                </a:extLst>
              </p:cNvPr>
              <p:cNvSpPr/>
              <p:nvPr/>
            </p:nvSpPr>
            <p:spPr>
              <a:xfrm rot="21046799">
                <a:off x="4531808" y="3746392"/>
                <a:ext cx="221135" cy="221135"/>
              </a:xfrm>
              <a:custGeom>
                <a:avLst/>
                <a:gdLst>
                  <a:gd name="connsiteX0" fmla="*/ 221077 w 221135"/>
                  <a:gd name="connsiteY0" fmla="*/ 110418 h 221135"/>
                  <a:gd name="connsiteX1" fmla="*/ 110510 w 221135"/>
                  <a:gd name="connsiteY1" fmla="*/ 220986 h 221135"/>
                  <a:gd name="connsiteX2" fmla="*/ -58 w 221135"/>
                  <a:gd name="connsiteY2" fmla="*/ 110418 h 221135"/>
                  <a:gd name="connsiteX3" fmla="*/ 110510 w 221135"/>
                  <a:gd name="connsiteY3" fmla="*/ -149 h 221135"/>
                  <a:gd name="connsiteX4" fmla="*/ 221077 w 221135"/>
                  <a:gd name="connsiteY4" fmla="*/ 110418 h 221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1135" h="221135">
                    <a:moveTo>
                      <a:pt x="221077" y="110418"/>
                    </a:moveTo>
                    <a:cubicBezTo>
                      <a:pt x="221077" y="171483"/>
                      <a:pt x="171574" y="220986"/>
                      <a:pt x="110510" y="220986"/>
                    </a:cubicBezTo>
                    <a:cubicBezTo>
                      <a:pt x="49445" y="220986"/>
                      <a:pt x="-58" y="171483"/>
                      <a:pt x="-58" y="110418"/>
                    </a:cubicBezTo>
                    <a:cubicBezTo>
                      <a:pt x="-58" y="49353"/>
                      <a:pt x="49445" y="-149"/>
                      <a:pt x="110510" y="-149"/>
                    </a:cubicBezTo>
                    <a:cubicBezTo>
                      <a:pt x="171574" y="-149"/>
                      <a:pt x="221077" y="49354"/>
                      <a:pt x="221077" y="110418"/>
                    </a:cubicBezTo>
                    <a:close/>
                  </a:path>
                </a:pathLst>
              </a:custGeom>
              <a:solidFill>
                <a:schemeClr val="bg2">
                  <a:lumMod val="60000"/>
                  <a:lumOff val="40000"/>
                </a:schemeClr>
              </a:solidFill>
              <a:ln w="24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5659D131-CE70-0CB8-3FC2-D1F7B0A8F36D}"/>
                  </a:ext>
                </a:extLst>
              </p:cNvPr>
              <p:cNvSpPr/>
              <p:nvPr/>
            </p:nvSpPr>
            <p:spPr>
              <a:xfrm>
                <a:off x="4613139" y="3938923"/>
                <a:ext cx="58359" cy="452171"/>
              </a:xfrm>
              <a:custGeom>
                <a:avLst/>
                <a:gdLst>
                  <a:gd name="connsiteX0" fmla="*/ 0 w 58359"/>
                  <a:gd name="connsiteY0" fmla="*/ 0 h 452171"/>
                  <a:gd name="connsiteX1" fmla="*/ 58359 w 58359"/>
                  <a:gd name="connsiteY1" fmla="*/ 0 h 452171"/>
                  <a:gd name="connsiteX2" fmla="*/ 58359 w 58359"/>
                  <a:gd name="connsiteY2" fmla="*/ 452172 h 452171"/>
                  <a:gd name="connsiteX3" fmla="*/ 0 w 58359"/>
                  <a:gd name="connsiteY3" fmla="*/ 452172 h 4521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8359" h="452171">
                    <a:moveTo>
                      <a:pt x="0" y="0"/>
                    </a:moveTo>
                    <a:lnTo>
                      <a:pt x="58359" y="0"/>
                    </a:lnTo>
                    <a:lnTo>
                      <a:pt x="58359" y="452172"/>
                    </a:lnTo>
                    <a:lnTo>
                      <a:pt x="0" y="452172"/>
                    </a:lnTo>
                    <a:close/>
                  </a:path>
                </a:pathLst>
              </a:custGeom>
              <a:solidFill>
                <a:schemeClr val="bg2">
                  <a:lumMod val="60000"/>
                  <a:lumOff val="40000"/>
                </a:schemeClr>
              </a:solidFill>
              <a:ln w="24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6F08859A-35A8-540C-82CD-1A32522BF077}"/>
                  </a:ext>
                </a:extLst>
              </p:cNvPr>
              <p:cNvSpPr/>
              <p:nvPr/>
            </p:nvSpPr>
            <p:spPr>
              <a:xfrm rot="20818201">
                <a:off x="1615438" y="3744608"/>
                <a:ext cx="221135" cy="221135"/>
              </a:xfrm>
              <a:custGeom>
                <a:avLst/>
                <a:gdLst>
                  <a:gd name="connsiteX0" fmla="*/ 221077 w 221135"/>
                  <a:gd name="connsiteY0" fmla="*/ 110418 h 221135"/>
                  <a:gd name="connsiteX1" fmla="*/ 110509 w 221135"/>
                  <a:gd name="connsiteY1" fmla="*/ 220986 h 221135"/>
                  <a:gd name="connsiteX2" fmla="*/ -58 w 221135"/>
                  <a:gd name="connsiteY2" fmla="*/ 110418 h 221135"/>
                  <a:gd name="connsiteX3" fmla="*/ 110509 w 221135"/>
                  <a:gd name="connsiteY3" fmla="*/ -149 h 221135"/>
                  <a:gd name="connsiteX4" fmla="*/ 221077 w 221135"/>
                  <a:gd name="connsiteY4" fmla="*/ 110418 h 221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1135" h="221135">
                    <a:moveTo>
                      <a:pt x="221077" y="110418"/>
                    </a:moveTo>
                    <a:cubicBezTo>
                      <a:pt x="221077" y="171483"/>
                      <a:pt x="171574" y="220986"/>
                      <a:pt x="110509" y="220986"/>
                    </a:cubicBezTo>
                    <a:cubicBezTo>
                      <a:pt x="49445" y="220986"/>
                      <a:pt x="-58" y="171483"/>
                      <a:pt x="-58" y="110418"/>
                    </a:cubicBezTo>
                    <a:cubicBezTo>
                      <a:pt x="-58" y="49354"/>
                      <a:pt x="49445" y="-149"/>
                      <a:pt x="110509" y="-149"/>
                    </a:cubicBezTo>
                    <a:cubicBezTo>
                      <a:pt x="171574" y="-149"/>
                      <a:pt x="221077" y="49354"/>
                      <a:pt x="221077" y="110418"/>
                    </a:cubicBezTo>
                    <a:close/>
                  </a:path>
                </a:pathLst>
              </a:custGeom>
              <a:solidFill>
                <a:srgbClr val="0070C0"/>
              </a:solidFill>
              <a:ln w="24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550D7FAF-857C-4D2B-9137-60569BF2BBB8}"/>
                  </a:ext>
                </a:extLst>
              </p:cNvPr>
              <p:cNvSpPr/>
              <p:nvPr/>
            </p:nvSpPr>
            <p:spPr>
              <a:xfrm rot="10800000">
                <a:off x="1696851" y="3321225"/>
                <a:ext cx="58359" cy="452171"/>
              </a:xfrm>
              <a:custGeom>
                <a:avLst/>
                <a:gdLst>
                  <a:gd name="connsiteX0" fmla="*/ -58 w 58359"/>
                  <a:gd name="connsiteY0" fmla="*/ -149 h 452171"/>
                  <a:gd name="connsiteX1" fmla="*/ 58301 w 58359"/>
                  <a:gd name="connsiteY1" fmla="*/ -149 h 452171"/>
                  <a:gd name="connsiteX2" fmla="*/ 58301 w 58359"/>
                  <a:gd name="connsiteY2" fmla="*/ 452023 h 452171"/>
                  <a:gd name="connsiteX3" fmla="*/ -58 w 58359"/>
                  <a:gd name="connsiteY3" fmla="*/ 452023 h 4521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8359" h="452171">
                    <a:moveTo>
                      <a:pt x="-58" y="-149"/>
                    </a:moveTo>
                    <a:lnTo>
                      <a:pt x="58301" y="-149"/>
                    </a:lnTo>
                    <a:lnTo>
                      <a:pt x="58301" y="452023"/>
                    </a:lnTo>
                    <a:lnTo>
                      <a:pt x="-58" y="452023"/>
                    </a:lnTo>
                    <a:close/>
                  </a:path>
                </a:pathLst>
              </a:custGeom>
              <a:solidFill>
                <a:srgbClr val="0070C0"/>
              </a:solidFill>
              <a:ln w="24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8C8EBA27-AB4B-C0B7-FEE9-9AF45E343214}"/>
                  </a:ext>
                </a:extLst>
              </p:cNvPr>
              <p:cNvSpPr/>
              <p:nvPr/>
            </p:nvSpPr>
            <p:spPr>
              <a:xfrm rot="18900000">
                <a:off x="3547261" y="3744576"/>
                <a:ext cx="221135" cy="221135"/>
              </a:xfrm>
              <a:custGeom>
                <a:avLst/>
                <a:gdLst>
                  <a:gd name="connsiteX0" fmla="*/ 221077 w 221135"/>
                  <a:gd name="connsiteY0" fmla="*/ 110418 h 221135"/>
                  <a:gd name="connsiteX1" fmla="*/ 110509 w 221135"/>
                  <a:gd name="connsiteY1" fmla="*/ 220986 h 221135"/>
                  <a:gd name="connsiteX2" fmla="*/ -58 w 221135"/>
                  <a:gd name="connsiteY2" fmla="*/ 110418 h 221135"/>
                  <a:gd name="connsiteX3" fmla="*/ 110509 w 221135"/>
                  <a:gd name="connsiteY3" fmla="*/ -149 h 221135"/>
                  <a:gd name="connsiteX4" fmla="*/ 221077 w 221135"/>
                  <a:gd name="connsiteY4" fmla="*/ 110418 h 221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1135" h="221135">
                    <a:moveTo>
                      <a:pt x="221077" y="110418"/>
                    </a:moveTo>
                    <a:cubicBezTo>
                      <a:pt x="221077" y="171483"/>
                      <a:pt x="171574" y="220986"/>
                      <a:pt x="110509" y="220986"/>
                    </a:cubicBezTo>
                    <a:cubicBezTo>
                      <a:pt x="49445" y="220986"/>
                      <a:pt x="-58" y="171483"/>
                      <a:pt x="-58" y="110418"/>
                    </a:cubicBezTo>
                    <a:cubicBezTo>
                      <a:pt x="-58" y="49354"/>
                      <a:pt x="49445" y="-149"/>
                      <a:pt x="110509" y="-149"/>
                    </a:cubicBezTo>
                    <a:cubicBezTo>
                      <a:pt x="171574" y="-149"/>
                      <a:pt x="221077" y="49354"/>
                      <a:pt x="221077" y="110418"/>
                    </a:cubicBezTo>
                    <a:close/>
                  </a:path>
                </a:pathLst>
              </a:custGeom>
              <a:solidFill>
                <a:srgbClr val="0070C0"/>
              </a:solidFill>
              <a:ln w="24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836DBD9C-99C0-F3B0-F6B4-17A227D5D495}"/>
                  </a:ext>
                </a:extLst>
              </p:cNvPr>
              <p:cNvSpPr/>
              <p:nvPr/>
            </p:nvSpPr>
            <p:spPr>
              <a:xfrm rot="10800000">
                <a:off x="3628633" y="3321225"/>
                <a:ext cx="58359" cy="452171"/>
              </a:xfrm>
              <a:custGeom>
                <a:avLst/>
                <a:gdLst>
                  <a:gd name="connsiteX0" fmla="*/ -58 w 58359"/>
                  <a:gd name="connsiteY0" fmla="*/ -149 h 452171"/>
                  <a:gd name="connsiteX1" fmla="*/ 58301 w 58359"/>
                  <a:gd name="connsiteY1" fmla="*/ -149 h 452171"/>
                  <a:gd name="connsiteX2" fmla="*/ 58301 w 58359"/>
                  <a:gd name="connsiteY2" fmla="*/ 452023 h 452171"/>
                  <a:gd name="connsiteX3" fmla="*/ -58 w 58359"/>
                  <a:gd name="connsiteY3" fmla="*/ 452023 h 4521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8359" h="452171">
                    <a:moveTo>
                      <a:pt x="-58" y="-149"/>
                    </a:moveTo>
                    <a:lnTo>
                      <a:pt x="58301" y="-149"/>
                    </a:lnTo>
                    <a:lnTo>
                      <a:pt x="58301" y="452023"/>
                    </a:lnTo>
                    <a:lnTo>
                      <a:pt x="-58" y="452023"/>
                    </a:lnTo>
                    <a:close/>
                  </a:path>
                </a:pathLst>
              </a:custGeom>
              <a:solidFill>
                <a:srgbClr val="0070C0"/>
              </a:solidFill>
              <a:ln w="24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3" name="Freeform: Shape 102">
                <a:extLst>
                  <a:ext uri="{FF2B5EF4-FFF2-40B4-BE49-F238E27FC236}">
                    <a16:creationId xmlns:a16="http://schemas.microsoft.com/office/drawing/2014/main" id="{3C4CFE81-8604-6AC6-BF3A-993FBC1DAA5C}"/>
                  </a:ext>
                </a:extLst>
              </p:cNvPr>
              <p:cNvSpPr/>
              <p:nvPr/>
            </p:nvSpPr>
            <p:spPr>
              <a:xfrm rot="20799645">
                <a:off x="5569783" y="3734976"/>
                <a:ext cx="220448" cy="220448"/>
              </a:xfrm>
              <a:custGeom>
                <a:avLst/>
                <a:gdLst>
                  <a:gd name="connsiteX0" fmla="*/ 220375 w 220448"/>
                  <a:gd name="connsiteY0" fmla="*/ 110071 h 220448"/>
                  <a:gd name="connsiteX1" fmla="*/ 110151 w 220448"/>
                  <a:gd name="connsiteY1" fmla="*/ 220296 h 220448"/>
                  <a:gd name="connsiteX2" fmla="*/ -74 w 220448"/>
                  <a:gd name="connsiteY2" fmla="*/ 110071 h 220448"/>
                  <a:gd name="connsiteX3" fmla="*/ 110151 w 220448"/>
                  <a:gd name="connsiteY3" fmla="*/ -153 h 220448"/>
                  <a:gd name="connsiteX4" fmla="*/ 220375 w 220448"/>
                  <a:gd name="connsiteY4" fmla="*/ 110071 h 2204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0448" h="220448">
                    <a:moveTo>
                      <a:pt x="220375" y="110071"/>
                    </a:moveTo>
                    <a:cubicBezTo>
                      <a:pt x="220375" y="170947"/>
                      <a:pt x="171027" y="220296"/>
                      <a:pt x="110151" y="220296"/>
                    </a:cubicBezTo>
                    <a:cubicBezTo>
                      <a:pt x="49276" y="220296"/>
                      <a:pt x="-74" y="170947"/>
                      <a:pt x="-74" y="110071"/>
                    </a:cubicBezTo>
                    <a:cubicBezTo>
                      <a:pt x="-74" y="49196"/>
                      <a:pt x="49275" y="-153"/>
                      <a:pt x="110151" y="-153"/>
                    </a:cubicBezTo>
                    <a:cubicBezTo>
                      <a:pt x="171025" y="-153"/>
                      <a:pt x="220375" y="49196"/>
                      <a:pt x="220375" y="110071"/>
                    </a:cubicBezTo>
                    <a:close/>
                  </a:path>
                </a:pathLst>
              </a:custGeom>
              <a:solidFill>
                <a:srgbClr val="0070C0"/>
              </a:solidFill>
              <a:ln w="2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4" name="Freeform: Shape 103">
                <a:extLst>
                  <a:ext uri="{FF2B5EF4-FFF2-40B4-BE49-F238E27FC236}">
                    <a16:creationId xmlns:a16="http://schemas.microsoft.com/office/drawing/2014/main" id="{E03BCAA7-EFAD-D1D0-CB41-B49AE6398F5C}"/>
                  </a:ext>
                </a:extLst>
              </p:cNvPr>
              <p:cNvSpPr/>
              <p:nvPr/>
            </p:nvSpPr>
            <p:spPr>
              <a:xfrm rot="10800000">
                <a:off x="5659592" y="3320472"/>
                <a:ext cx="58359" cy="452171"/>
              </a:xfrm>
              <a:custGeom>
                <a:avLst/>
                <a:gdLst>
                  <a:gd name="connsiteX0" fmla="*/ -58 w 58359"/>
                  <a:gd name="connsiteY0" fmla="*/ -149 h 452171"/>
                  <a:gd name="connsiteX1" fmla="*/ 58301 w 58359"/>
                  <a:gd name="connsiteY1" fmla="*/ -149 h 452171"/>
                  <a:gd name="connsiteX2" fmla="*/ 58301 w 58359"/>
                  <a:gd name="connsiteY2" fmla="*/ 452023 h 452171"/>
                  <a:gd name="connsiteX3" fmla="*/ -58 w 58359"/>
                  <a:gd name="connsiteY3" fmla="*/ 452023 h 4521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8359" h="452171">
                    <a:moveTo>
                      <a:pt x="-58" y="-149"/>
                    </a:moveTo>
                    <a:lnTo>
                      <a:pt x="58301" y="-149"/>
                    </a:lnTo>
                    <a:lnTo>
                      <a:pt x="58301" y="452023"/>
                    </a:lnTo>
                    <a:lnTo>
                      <a:pt x="-58" y="452023"/>
                    </a:lnTo>
                    <a:close/>
                  </a:path>
                </a:pathLst>
              </a:custGeom>
              <a:solidFill>
                <a:srgbClr val="0070C0"/>
              </a:solidFill>
              <a:ln w="24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105" name="Group 104">
                <a:extLst>
                  <a:ext uri="{FF2B5EF4-FFF2-40B4-BE49-F238E27FC236}">
                    <a16:creationId xmlns:a16="http://schemas.microsoft.com/office/drawing/2014/main" id="{33608078-2CA7-DB9E-AE77-9231CC6ACDB4}"/>
                  </a:ext>
                </a:extLst>
              </p:cNvPr>
              <p:cNvGrpSpPr/>
              <p:nvPr/>
            </p:nvGrpSpPr>
            <p:grpSpPr>
              <a:xfrm>
                <a:off x="1132222" y="2164581"/>
                <a:ext cx="1175152" cy="1175152"/>
                <a:chOff x="1216191" y="2020368"/>
                <a:chExt cx="1175152" cy="1175152"/>
              </a:xfrm>
            </p:grpSpPr>
            <p:sp>
              <p:nvSpPr>
                <p:cNvPr id="159" name="Oval 158">
                  <a:extLst>
                    <a:ext uri="{FF2B5EF4-FFF2-40B4-BE49-F238E27FC236}">
                      <a16:creationId xmlns:a16="http://schemas.microsoft.com/office/drawing/2014/main" id="{EB954B11-A561-0A3D-4551-F94386B7274A}"/>
                    </a:ext>
                  </a:extLst>
                </p:cNvPr>
                <p:cNvSpPr/>
                <p:nvPr/>
              </p:nvSpPr>
              <p:spPr>
                <a:xfrm>
                  <a:off x="1216191" y="2020368"/>
                  <a:ext cx="1175152" cy="1175152"/>
                </a:xfrm>
                <a:prstGeom prst="ellipse">
                  <a:avLst/>
                </a:prstGeom>
                <a:solidFill>
                  <a:srgbClr val="0070C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160" name="Oval 159">
                  <a:extLst>
                    <a:ext uri="{FF2B5EF4-FFF2-40B4-BE49-F238E27FC236}">
                      <a16:creationId xmlns:a16="http://schemas.microsoft.com/office/drawing/2014/main" id="{9687DD1F-E00A-CF74-853F-AA36CD188E28}"/>
                    </a:ext>
                  </a:extLst>
                </p:cNvPr>
                <p:cNvSpPr/>
                <p:nvPr/>
              </p:nvSpPr>
              <p:spPr>
                <a:xfrm>
                  <a:off x="1340756" y="2144933"/>
                  <a:ext cx="926023" cy="92602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  <a:effectLst>
                  <a:outerShdw blurRad="177800" sx="102000" sy="102000" algn="ctr" rotWithShape="0">
                    <a:prstClr val="black">
                      <a:alpha val="26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110" name="Group 109">
                <a:extLst>
                  <a:ext uri="{FF2B5EF4-FFF2-40B4-BE49-F238E27FC236}">
                    <a16:creationId xmlns:a16="http://schemas.microsoft.com/office/drawing/2014/main" id="{45856A3A-B8EF-7721-A734-BAA1AE277EB8}"/>
                  </a:ext>
                </a:extLst>
              </p:cNvPr>
              <p:cNvGrpSpPr/>
              <p:nvPr/>
            </p:nvGrpSpPr>
            <p:grpSpPr>
              <a:xfrm>
                <a:off x="3072384" y="2164582"/>
                <a:ext cx="1175152" cy="1175152"/>
                <a:chOff x="1216191" y="2020369"/>
                <a:chExt cx="1175152" cy="1175152"/>
              </a:xfrm>
            </p:grpSpPr>
            <p:sp>
              <p:nvSpPr>
                <p:cNvPr id="157" name="Oval 156">
                  <a:extLst>
                    <a:ext uri="{FF2B5EF4-FFF2-40B4-BE49-F238E27FC236}">
                      <a16:creationId xmlns:a16="http://schemas.microsoft.com/office/drawing/2014/main" id="{9B287D91-053D-75E3-F20F-E1C3F3FFFFD3}"/>
                    </a:ext>
                  </a:extLst>
                </p:cNvPr>
                <p:cNvSpPr/>
                <p:nvPr/>
              </p:nvSpPr>
              <p:spPr>
                <a:xfrm>
                  <a:off x="1216191" y="2020369"/>
                  <a:ext cx="1175152" cy="1175152"/>
                </a:xfrm>
                <a:prstGeom prst="ellipse">
                  <a:avLst/>
                </a:prstGeom>
                <a:solidFill>
                  <a:srgbClr val="0070C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158" name="Oval 157">
                  <a:extLst>
                    <a:ext uri="{FF2B5EF4-FFF2-40B4-BE49-F238E27FC236}">
                      <a16:creationId xmlns:a16="http://schemas.microsoft.com/office/drawing/2014/main" id="{517EB9EF-CB85-A172-1BB9-DA80886302C4}"/>
                    </a:ext>
                  </a:extLst>
                </p:cNvPr>
                <p:cNvSpPr/>
                <p:nvPr/>
              </p:nvSpPr>
              <p:spPr>
                <a:xfrm>
                  <a:off x="1340756" y="2144933"/>
                  <a:ext cx="926023" cy="92602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  <a:effectLst>
                  <a:outerShdw blurRad="177800" sx="102000" sy="102000" algn="ctr" rotWithShape="0">
                    <a:prstClr val="black">
                      <a:alpha val="26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118" name="Group 117">
                <a:extLst>
                  <a:ext uri="{FF2B5EF4-FFF2-40B4-BE49-F238E27FC236}">
                    <a16:creationId xmlns:a16="http://schemas.microsoft.com/office/drawing/2014/main" id="{9D26ED48-B59F-7A09-0545-A57D9E4C3D01}"/>
                  </a:ext>
                </a:extLst>
              </p:cNvPr>
              <p:cNvGrpSpPr/>
              <p:nvPr/>
            </p:nvGrpSpPr>
            <p:grpSpPr>
              <a:xfrm>
                <a:off x="5101195" y="2163827"/>
                <a:ext cx="1175152" cy="1175152"/>
                <a:chOff x="-4481167" y="2019614"/>
                <a:chExt cx="1175152" cy="1175152"/>
              </a:xfrm>
            </p:grpSpPr>
            <p:sp>
              <p:nvSpPr>
                <p:cNvPr id="149" name="Oval 148">
                  <a:extLst>
                    <a:ext uri="{FF2B5EF4-FFF2-40B4-BE49-F238E27FC236}">
                      <a16:creationId xmlns:a16="http://schemas.microsoft.com/office/drawing/2014/main" id="{1DA26E32-A1B8-E772-A98C-24BE50323E01}"/>
                    </a:ext>
                  </a:extLst>
                </p:cNvPr>
                <p:cNvSpPr/>
                <p:nvPr/>
              </p:nvSpPr>
              <p:spPr>
                <a:xfrm>
                  <a:off x="-4481167" y="2019614"/>
                  <a:ext cx="1175152" cy="1175152"/>
                </a:xfrm>
                <a:prstGeom prst="ellipse">
                  <a:avLst/>
                </a:prstGeom>
                <a:solidFill>
                  <a:srgbClr val="0070C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50" name="Oval 149">
                  <a:extLst>
                    <a:ext uri="{FF2B5EF4-FFF2-40B4-BE49-F238E27FC236}">
                      <a16:creationId xmlns:a16="http://schemas.microsoft.com/office/drawing/2014/main" id="{E4CAC656-B314-CC57-3015-AFF769F3CFC5}"/>
                    </a:ext>
                  </a:extLst>
                </p:cNvPr>
                <p:cNvSpPr/>
                <p:nvPr/>
              </p:nvSpPr>
              <p:spPr>
                <a:xfrm>
                  <a:off x="-4356602" y="2144178"/>
                  <a:ext cx="926023" cy="92602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  <a:effectLst>
                  <a:outerShdw blurRad="177800" sx="102000" sy="102000" algn="ctr" rotWithShape="0">
                    <a:prstClr val="black">
                      <a:alpha val="26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119" name="Group 118">
                <a:extLst>
                  <a:ext uri="{FF2B5EF4-FFF2-40B4-BE49-F238E27FC236}">
                    <a16:creationId xmlns:a16="http://schemas.microsoft.com/office/drawing/2014/main" id="{BA0F34C2-F2DD-51A6-6360-BC05CEA79B21}"/>
                  </a:ext>
                </a:extLst>
              </p:cNvPr>
              <p:cNvGrpSpPr/>
              <p:nvPr/>
            </p:nvGrpSpPr>
            <p:grpSpPr>
              <a:xfrm>
                <a:off x="193949" y="4318390"/>
                <a:ext cx="1175152" cy="1175152"/>
                <a:chOff x="1216190" y="2020368"/>
                <a:chExt cx="1175152" cy="1175152"/>
              </a:xfrm>
            </p:grpSpPr>
            <p:sp>
              <p:nvSpPr>
                <p:cNvPr id="147" name="Oval 146">
                  <a:extLst>
                    <a:ext uri="{FF2B5EF4-FFF2-40B4-BE49-F238E27FC236}">
                      <a16:creationId xmlns:a16="http://schemas.microsoft.com/office/drawing/2014/main" id="{9BAA66E1-2CAE-E14C-5651-CFC995F91A87}"/>
                    </a:ext>
                  </a:extLst>
                </p:cNvPr>
                <p:cNvSpPr/>
                <p:nvPr/>
              </p:nvSpPr>
              <p:spPr>
                <a:xfrm>
                  <a:off x="1216190" y="2020368"/>
                  <a:ext cx="1175152" cy="1175152"/>
                </a:xfrm>
                <a:prstGeom prst="ellipse">
                  <a:avLst/>
                </a:prstGeom>
                <a:solidFill>
                  <a:schemeClr val="bg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48" name="Oval 147">
                  <a:extLst>
                    <a:ext uri="{FF2B5EF4-FFF2-40B4-BE49-F238E27FC236}">
                      <a16:creationId xmlns:a16="http://schemas.microsoft.com/office/drawing/2014/main" id="{CA622FDA-2600-89F0-E54F-9CD9E6625647}"/>
                    </a:ext>
                  </a:extLst>
                </p:cNvPr>
                <p:cNvSpPr/>
                <p:nvPr/>
              </p:nvSpPr>
              <p:spPr>
                <a:xfrm>
                  <a:off x="1340755" y="2144933"/>
                  <a:ext cx="926023" cy="92602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  <a:effectLst>
                  <a:outerShdw blurRad="177800" sx="102000" sy="102000" algn="ctr" rotWithShape="0">
                    <a:prstClr val="black">
                      <a:alpha val="26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</p:grp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3A27EA32-98EA-E92F-240F-14D82D74694A}"/>
                  </a:ext>
                </a:extLst>
              </p:cNvPr>
              <p:cNvGrpSpPr/>
              <p:nvPr/>
            </p:nvGrpSpPr>
            <p:grpSpPr>
              <a:xfrm>
                <a:off x="2134112" y="4318390"/>
                <a:ext cx="1175152" cy="1175152"/>
                <a:chOff x="1216191" y="2020368"/>
                <a:chExt cx="1175152" cy="1175152"/>
              </a:xfrm>
            </p:grpSpPr>
            <p:sp>
              <p:nvSpPr>
                <p:cNvPr id="145" name="Oval 144">
                  <a:extLst>
                    <a:ext uri="{FF2B5EF4-FFF2-40B4-BE49-F238E27FC236}">
                      <a16:creationId xmlns:a16="http://schemas.microsoft.com/office/drawing/2014/main" id="{BF1E6B33-195B-7CC3-A547-289041BA4B76}"/>
                    </a:ext>
                  </a:extLst>
                </p:cNvPr>
                <p:cNvSpPr/>
                <p:nvPr/>
              </p:nvSpPr>
              <p:spPr>
                <a:xfrm>
                  <a:off x="1216191" y="2020368"/>
                  <a:ext cx="1175152" cy="1175152"/>
                </a:xfrm>
                <a:prstGeom prst="ellipse">
                  <a:avLst/>
                </a:prstGeom>
                <a:solidFill>
                  <a:schemeClr val="bg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146" name="Oval 145">
                  <a:extLst>
                    <a:ext uri="{FF2B5EF4-FFF2-40B4-BE49-F238E27FC236}">
                      <a16:creationId xmlns:a16="http://schemas.microsoft.com/office/drawing/2014/main" id="{DC48944B-6C9F-A4FD-6D70-8522A27716AB}"/>
                    </a:ext>
                  </a:extLst>
                </p:cNvPr>
                <p:cNvSpPr/>
                <p:nvPr/>
              </p:nvSpPr>
              <p:spPr>
                <a:xfrm>
                  <a:off x="1340756" y="2144932"/>
                  <a:ext cx="926023" cy="92602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  <a:effectLst>
                  <a:outerShdw blurRad="177800" sx="102000" sy="102000" algn="ctr" rotWithShape="0">
                    <a:prstClr val="black">
                      <a:alpha val="26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</p:grpSp>
          <p:grpSp>
            <p:nvGrpSpPr>
              <p:cNvPr id="121" name="Group 120">
                <a:extLst>
                  <a:ext uri="{FF2B5EF4-FFF2-40B4-BE49-F238E27FC236}">
                    <a16:creationId xmlns:a16="http://schemas.microsoft.com/office/drawing/2014/main" id="{9259FB56-1B33-0BC8-3F04-255F7451401B}"/>
                  </a:ext>
                </a:extLst>
              </p:cNvPr>
              <p:cNvGrpSpPr/>
              <p:nvPr/>
            </p:nvGrpSpPr>
            <p:grpSpPr>
              <a:xfrm>
                <a:off x="4048551" y="4318390"/>
                <a:ext cx="1175152" cy="1175152"/>
                <a:chOff x="1216191" y="2020368"/>
                <a:chExt cx="1175152" cy="1175152"/>
              </a:xfrm>
            </p:grpSpPr>
            <p:sp>
              <p:nvSpPr>
                <p:cNvPr id="143" name="Oval 142">
                  <a:extLst>
                    <a:ext uri="{FF2B5EF4-FFF2-40B4-BE49-F238E27FC236}">
                      <a16:creationId xmlns:a16="http://schemas.microsoft.com/office/drawing/2014/main" id="{69F7E5D7-C53C-2049-EB24-482893DD4099}"/>
                    </a:ext>
                  </a:extLst>
                </p:cNvPr>
                <p:cNvSpPr/>
                <p:nvPr/>
              </p:nvSpPr>
              <p:spPr>
                <a:xfrm>
                  <a:off x="1216191" y="2020368"/>
                  <a:ext cx="1175152" cy="1175152"/>
                </a:xfrm>
                <a:prstGeom prst="ellipse">
                  <a:avLst/>
                </a:prstGeom>
                <a:solidFill>
                  <a:schemeClr val="bg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144" name="Oval 143">
                  <a:extLst>
                    <a:ext uri="{FF2B5EF4-FFF2-40B4-BE49-F238E27FC236}">
                      <a16:creationId xmlns:a16="http://schemas.microsoft.com/office/drawing/2014/main" id="{0CEE831D-9697-2C5A-A33E-0EB7EA34002B}"/>
                    </a:ext>
                  </a:extLst>
                </p:cNvPr>
                <p:cNvSpPr/>
                <p:nvPr/>
              </p:nvSpPr>
              <p:spPr>
                <a:xfrm>
                  <a:off x="1340756" y="2144933"/>
                  <a:ext cx="926023" cy="92602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  <a:effectLst>
                  <a:outerShdw blurRad="177800" sx="102000" sy="102000" algn="ctr" rotWithShape="0">
                    <a:prstClr val="black">
                      <a:alpha val="26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125" name="TextBox 124">
                <a:extLst>
                  <a:ext uri="{FF2B5EF4-FFF2-40B4-BE49-F238E27FC236}">
                    <a16:creationId xmlns:a16="http://schemas.microsoft.com/office/drawing/2014/main" id="{153BD12A-6B08-7F87-05B9-EC4B1318CE35}"/>
                  </a:ext>
                </a:extLst>
              </p:cNvPr>
              <p:cNvSpPr txBox="1"/>
              <p:nvPr/>
            </p:nvSpPr>
            <p:spPr>
              <a:xfrm>
                <a:off x="222557" y="4779131"/>
                <a:ext cx="1146544" cy="25366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2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Lora" pitchFamily="2" charset="0"/>
                  </a:rPr>
                  <a:t>30,000-2000 </a:t>
                </a: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C1F7AB00-3A25-4E08-F142-EB9AFFC5815A}"/>
                  </a:ext>
                </a:extLst>
              </p:cNvPr>
              <p:cNvSpPr txBox="1"/>
              <p:nvPr/>
            </p:nvSpPr>
            <p:spPr>
              <a:xfrm>
                <a:off x="1181348" y="2636510"/>
                <a:ext cx="1031004" cy="25366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2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Lora" pitchFamily="2" charset="0"/>
                  </a:rPr>
                  <a:t>2000 – 938 </a:t>
                </a:r>
              </a:p>
            </p:txBody>
          </p:sp>
          <p:sp>
            <p:nvSpPr>
              <p:cNvPr id="127" name="TextBox 126">
                <a:extLst>
                  <a:ext uri="{FF2B5EF4-FFF2-40B4-BE49-F238E27FC236}">
                    <a16:creationId xmlns:a16="http://schemas.microsoft.com/office/drawing/2014/main" id="{05324941-4B0B-65B5-6034-A7EACFF449CF}"/>
                  </a:ext>
                </a:extLst>
              </p:cNvPr>
              <p:cNvSpPr txBox="1"/>
              <p:nvPr/>
            </p:nvSpPr>
            <p:spPr>
              <a:xfrm>
                <a:off x="2212016" y="4774919"/>
                <a:ext cx="1019343" cy="25366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2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Lora" pitchFamily="2" charset="0"/>
                  </a:rPr>
                  <a:t>938 – 1009</a:t>
                </a:r>
              </a:p>
            </p:txBody>
          </p:sp>
          <p:sp>
            <p:nvSpPr>
              <p:cNvPr id="128" name="TextBox 127">
                <a:extLst>
                  <a:ext uri="{FF2B5EF4-FFF2-40B4-BE49-F238E27FC236}">
                    <a16:creationId xmlns:a16="http://schemas.microsoft.com/office/drawing/2014/main" id="{E0A3CA08-1E27-9F36-2FBA-AF88FB6706D6}"/>
                  </a:ext>
                </a:extLst>
              </p:cNvPr>
              <p:cNvSpPr txBox="1"/>
              <p:nvPr/>
            </p:nvSpPr>
            <p:spPr>
              <a:xfrm>
                <a:off x="3072384" y="2633777"/>
                <a:ext cx="1175151" cy="25366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2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Lora" pitchFamily="2" charset="0"/>
                  </a:rPr>
                  <a:t>1009 – 1225</a:t>
                </a:r>
              </a:p>
            </p:txBody>
          </p:sp>
          <p:sp>
            <p:nvSpPr>
              <p:cNvPr id="129" name="TextBox 128">
                <a:extLst>
                  <a:ext uri="{FF2B5EF4-FFF2-40B4-BE49-F238E27FC236}">
                    <a16:creationId xmlns:a16="http://schemas.microsoft.com/office/drawing/2014/main" id="{0D4C7256-D5D1-2D0D-6C77-BA540460891D}"/>
                  </a:ext>
                </a:extLst>
              </p:cNvPr>
              <p:cNvSpPr txBox="1"/>
              <p:nvPr/>
            </p:nvSpPr>
            <p:spPr>
              <a:xfrm>
                <a:off x="4092286" y="4766973"/>
                <a:ext cx="1091071" cy="25366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2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Lora" pitchFamily="2" charset="0"/>
                  </a:rPr>
                  <a:t>1225 – 1407</a:t>
                </a:r>
              </a:p>
            </p:txBody>
          </p:sp>
          <p:sp>
            <p:nvSpPr>
              <p:cNvPr id="136" name="TextBox 135">
                <a:extLst>
                  <a:ext uri="{FF2B5EF4-FFF2-40B4-BE49-F238E27FC236}">
                    <a16:creationId xmlns:a16="http://schemas.microsoft.com/office/drawing/2014/main" id="{C0248B49-15DB-90DD-E699-40ECB2CA51E4}"/>
                  </a:ext>
                </a:extLst>
              </p:cNvPr>
              <p:cNvSpPr txBox="1"/>
              <p:nvPr/>
            </p:nvSpPr>
            <p:spPr>
              <a:xfrm>
                <a:off x="5127666" y="2624567"/>
                <a:ext cx="1122208" cy="25366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2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Lora" pitchFamily="2" charset="0"/>
                  </a:rPr>
                  <a:t>1428 – 1788</a:t>
                </a:r>
              </a:p>
            </p:txBody>
          </p:sp>
        </p:grpSp>
      </p:grpSp>
      <p:sp>
        <p:nvSpPr>
          <p:cNvPr id="409" name="TextBox 408">
            <a:extLst>
              <a:ext uri="{FF2B5EF4-FFF2-40B4-BE49-F238E27FC236}">
                <a16:creationId xmlns:a16="http://schemas.microsoft.com/office/drawing/2014/main" id="{3599A92B-9CDF-B03C-0EE6-0D7524D47C5A}"/>
              </a:ext>
            </a:extLst>
          </p:cNvPr>
          <p:cNvSpPr txBox="1"/>
          <p:nvPr/>
        </p:nvSpPr>
        <p:spPr>
          <a:xfrm>
            <a:off x="1497421" y="1047302"/>
            <a:ext cx="2380108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>
              <a:spcBef>
                <a:spcPts val="600"/>
              </a:spcBef>
            </a:pP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TheFounding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first period of and Struggling for Independence</a:t>
            </a:r>
          </a:p>
        </p:txBody>
      </p:sp>
      <p:sp>
        <p:nvSpPr>
          <p:cNvPr id="410" name="TextBox 409">
            <a:extLst>
              <a:ext uri="{FF2B5EF4-FFF2-40B4-BE49-F238E27FC236}">
                <a16:creationId xmlns:a16="http://schemas.microsoft.com/office/drawing/2014/main" id="{95833D5E-BB32-EE24-9634-9C8BEBF8EED6}"/>
              </a:ext>
            </a:extLst>
          </p:cNvPr>
          <p:cNvSpPr txBox="1"/>
          <p:nvPr/>
        </p:nvSpPr>
        <p:spPr>
          <a:xfrm>
            <a:off x="755410" y="5606174"/>
            <a:ext cx="164984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>
              <a:spcBef>
                <a:spcPts val="600"/>
              </a:spcBef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Prehistoric period</a:t>
            </a:r>
          </a:p>
        </p:txBody>
      </p:sp>
      <p:sp>
        <p:nvSpPr>
          <p:cNvPr id="411" name="TextBox 410">
            <a:extLst>
              <a:ext uri="{FF2B5EF4-FFF2-40B4-BE49-F238E27FC236}">
                <a16:creationId xmlns:a16="http://schemas.microsoft.com/office/drawing/2014/main" id="{D13DAAB4-00F6-BD8F-EA22-FC90953665D6}"/>
              </a:ext>
            </a:extLst>
          </p:cNvPr>
          <p:cNvSpPr txBox="1"/>
          <p:nvPr/>
        </p:nvSpPr>
        <p:spPr>
          <a:xfrm>
            <a:off x="2678464" y="5606174"/>
            <a:ext cx="2008242" cy="5693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>
              <a:spcBef>
                <a:spcPts val="600"/>
              </a:spcBef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Ngo - Dinh – </a:t>
            </a:r>
          </a:p>
          <a:p>
            <a:pPr lvl="0" algn="ctr">
              <a:spcBef>
                <a:spcPts val="600"/>
              </a:spcBef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Early Le dynasties</a:t>
            </a:r>
          </a:p>
        </p:txBody>
      </p:sp>
      <p:sp>
        <p:nvSpPr>
          <p:cNvPr id="412" name="TextBox 411">
            <a:extLst>
              <a:ext uri="{FF2B5EF4-FFF2-40B4-BE49-F238E27FC236}">
                <a16:creationId xmlns:a16="http://schemas.microsoft.com/office/drawing/2014/main" id="{1A2F7C1B-E292-09B0-AF6F-9B1010351AF3}"/>
              </a:ext>
            </a:extLst>
          </p:cNvPr>
          <p:cNvSpPr txBox="1"/>
          <p:nvPr/>
        </p:nvSpPr>
        <p:spPr>
          <a:xfrm>
            <a:off x="5104479" y="5596480"/>
            <a:ext cx="143974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>
              <a:spcBef>
                <a:spcPts val="600"/>
              </a:spcBef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Tran - Ho dynasties</a:t>
            </a:r>
          </a:p>
        </p:txBody>
      </p:sp>
      <p:sp>
        <p:nvSpPr>
          <p:cNvPr id="416" name="TextBox 415">
            <a:extLst>
              <a:ext uri="{FF2B5EF4-FFF2-40B4-BE49-F238E27FC236}">
                <a16:creationId xmlns:a16="http://schemas.microsoft.com/office/drawing/2014/main" id="{AA8A5989-E2DC-1B91-AA58-4248992883F3}"/>
              </a:ext>
            </a:extLst>
          </p:cNvPr>
          <p:cNvSpPr txBox="1"/>
          <p:nvPr/>
        </p:nvSpPr>
        <p:spPr>
          <a:xfrm>
            <a:off x="5782333" y="1168758"/>
            <a:ext cx="2380107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>
              <a:spcBef>
                <a:spcPts val="600"/>
              </a:spcBef>
            </a:pPr>
            <a:r>
              <a:rPr lang="fr-FR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Posterior</a:t>
            </a:r>
            <a:r>
              <a:rPr lang="fr-F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Le - Mac, Trinh - Nguyen Lords dynasties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36" name="Freeform: Shape 435">
            <a:extLst>
              <a:ext uri="{FF2B5EF4-FFF2-40B4-BE49-F238E27FC236}">
                <a16:creationId xmlns:a16="http://schemas.microsoft.com/office/drawing/2014/main" id="{C92C8373-448C-5019-73FF-05A0D864BEBE}"/>
              </a:ext>
            </a:extLst>
          </p:cNvPr>
          <p:cNvSpPr/>
          <p:nvPr/>
        </p:nvSpPr>
        <p:spPr>
          <a:xfrm rot="21046799">
            <a:off x="8115931" y="3674433"/>
            <a:ext cx="241474" cy="241474"/>
          </a:xfrm>
          <a:custGeom>
            <a:avLst/>
            <a:gdLst>
              <a:gd name="connsiteX0" fmla="*/ 221077 w 221135"/>
              <a:gd name="connsiteY0" fmla="*/ 110418 h 221135"/>
              <a:gd name="connsiteX1" fmla="*/ 110510 w 221135"/>
              <a:gd name="connsiteY1" fmla="*/ 220986 h 221135"/>
              <a:gd name="connsiteX2" fmla="*/ -58 w 221135"/>
              <a:gd name="connsiteY2" fmla="*/ 110418 h 221135"/>
              <a:gd name="connsiteX3" fmla="*/ 110510 w 221135"/>
              <a:gd name="connsiteY3" fmla="*/ -149 h 221135"/>
              <a:gd name="connsiteX4" fmla="*/ 221077 w 221135"/>
              <a:gd name="connsiteY4" fmla="*/ 110418 h 221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1135" h="221135">
                <a:moveTo>
                  <a:pt x="221077" y="110418"/>
                </a:moveTo>
                <a:cubicBezTo>
                  <a:pt x="221077" y="171483"/>
                  <a:pt x="171574" y="220986"/>
                  <a:pt x="110510" y="220986"/>
                </a:cubicBezTo>
                <a:cubicBezTo>
                  <a:pt x="49445" y="220986"/>
                  <a:pt x="-58" y="171483"/>
                  <a:pt x="-58" y="110418"/>
                </a:cubicBezTo>
                <a:cubicBezTo>
                  <a:pt x="-58" y="49353"/>
                  <a:pt x="49445" y="-149"/>
                  <a:pt x="110510" y="-149"/>
                </a:cubicBezTo>
                <a:cubicBezTo>
                  <a:pt x="171574" y="-149"/>
                  <a:pt x="221077" y="49354"/>
                  <a:pt x="221077" y="110418"/>
                </a:cubicBezTo>
                <a:close/>
              </a:path>
            </a:pathLst>
          </a:custGeom>
          <a:solidFill>
            <a:schemeClr val="bg2">
              <a:lumMod val="60000"/>
              <a:lumOff val="40000"/>
            </a:schemeClr>
          </a:solidFill>
          <a:ln w="249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37" name="Freeform: Shape 436">
            <a:extLst>
              <a:ext uri="{FF2B5EF4-FFF2-40B4-BE49-F238E27FC236}">
                <a16:creationId xmlns:a16="http://schemas.microsoft.com/office/drawing/2014/main" id="{DA6D6451-9313-06F6-275B-D26B63422BED}"/>
              </a:ext>
            </a:extLst>
          </p:cNvPr>
          <p:cNvSpPr/>
          <p:nvPr/>
        </p:nvSpPr>
        <p:spPr>
          <a:xfrm>
            <a:off x="8204743" y="3884672"/>
            <a:ext cx="63727" cy="493759"/>
          </a:xfrm>
          <a:custGeom>
            <a:avLst/>
            <a:gdLst>
              <a:gd name="connsiteX0" fmla="*/ 0 w 58359"/>
              <a:gd name="connsiteY0" fmla="*/ 0 h 452171"/>
              <a:gd name="connsiteX1" fmla="*/ 58359 w 58359"/>
              <a:gd name="connsiteY1" fmla="*/ 0 h 452171"/>
              <a:gd name="connsiteX2" fmla="*/ 58359 w 58359"/>
              <a:gd name="connsiteY2" fmla="*/ 452172 h 452171"/>
              <a:gd name="connsiteX3" fmla="*/ 0 w 58359"/>
              <a:gd name="connsiteY3" fmla="*/ 452172 h 4521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359" h="452171">
                <a:moveTo>
                  <a:pt x="0" y="0"/>
                </a:moveTo>
                <a:lnTo>
                  <a:pt x="58359" y="0"/>
                </a:lnTo>
                <a:lnTo>
                  <a:pt x="58359" y="452172"/>
                </a:lnTo>
                <a:lnTo>
                  <a:pt x="0" y="452172"/>
                </a:lnTo>
                <a:close/>
              </a:path>
            </a:pathLst>
          </a:custGeom>
          <a:solidFill>
            <a:schemeClr val="bg2">
              <a:lumMod val="60000"/>
              <a:lumOff val="40000"/>
            </a:schemeClr>
          </a:solidFill>
          <a:ln w="249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38" name="Freeform: Shape 437">
            <a:extLst>
              <a:ext uri="{FF2B5EF4-FFF2-40B4-BE49-F238E27FC236}">
                <a16:creationId xmlns:a16="http://schemas.microsoft.com/office/drawing/2014/main" id="{9F33F8AB-F20C-082C-2517-3849E51D4830}"/>
              </a:ext>
            </a:extLst>
          </p:cNvPr>
          <p:cNvSpPr/>
          <p:nvPr/>
        </p:nvSpPr>
        <p:spPr>
          <a:xfrm rot="20799645">
            <a:off x="9249374" y="3661967"/>
            <a:ext cx="240724" cy="240724"/>
          </a:xfrm>
          <a:custGeom>
            <a:avLst/>
            <a:gdLst>
              <a:gd name="connsiteX0" fmla="*/ 220375 w 220448"/>
              <a:gd name="connsiteY0" fmla="*/ 110071 h 220448"/>
              <a:gd name="connsiteX1" fmla="*/ 110151 w 220448"/>
              <a:gd name="connsiteY1" fmla="*/ 220296 h 220448"/>
              <a:gd name="connsiteX2" fmla="*/ -74 w 220448"/>
              <a:gd name="connsiteY2" fmla="*/ 110071 h 220448"/>
              <a:gd name="connsiteX3" fmla="*/ 110151 w 220448"/>
              <a:gd name="connsiteY3" fmla="*/ -153 h 220448"/>
              <a:gd name="connsiteX4" fmla="*/ 220375 w 220448"/>
              <a:gd name="connsiteY4" fmla="*/ 110071 h 220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448" h="220448">
                <a:moveTo>
                  <a:pt x="220375" y="110071"/>
                </a:moveTo>
                <a:cubicBezTo>
                  <a:pt x="220375" y="170947"/>
                  <a:pt x="171027" y="220296"/>
                  <a:pt x="110151" y="220296"/>
                </a:cubicBezTo>
                <a:cubicBezTo>
                  <a:pt x="49276" y="220296"/>
                  <a:pt x="-74" y="170947"/>
                  <a:pt x="-74" y="110071"/>
                </a:cubicBezTo>
                <a:cubicBezTo>
                  <a:pt x="-74" y="49196"/>
                  <a:pt x="49275" y="-153"/>
                  <a:pt x="110151" y="-153"/>
                </a:cubicBezTo>
                <a:cubicBezTo>
                  <a:pt x="171025" y="-153"/>
                  <a:pt x="220375" y="49196"/>
                  <a:pt x="220375" y="110071"/>
                </a:cubicBezTo>
                <a:close/>
              </a:path>
            </a:pathLst>
          </a:custGeom>
          <a:solidFill>
            <a:srgbClr val="0070C0"/>
          </a:solidFill>
          <a:ln w="249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39" name="Freeform: Shape 438">
            <a:extLst>
              <a:ext uri="{FF2B5EF4-FFF2-40B4-BE49-F238E27FC236}">
                <a16:creationId xmlns:a16="http://schemas.microsoft.com/office/drawing/2014/main" id="{F54CC9F2-C974-B696-A781-1FC9D5B2E326}"/>
              </a:ext>
            </a:extLst>
          </p:cNvPr>
          <p:cNvSpPr/>
          <p:nvPr/>
        </p:nvSpPr>
        <p:spPr>
          <a:xfrm rot="10800000">
            <a:off x="9347443" y="3209339"/>
            <a:ext cx="63727" cy="493759"/>
          </a:xfrm>
          <a:custGeom>
            <a:avLst/>
            <a:gdLst>
              <a:gd name="connsiteX0" fmla="*/ -58 w 58359"/>
              <a:gd name="connsiteY0" fmla="*/ -149 h 452171"/>
              <a:gd name="connsiteX1" fmla="*/ 58301 w 58359"/>
              <a:gd name="connsiteY1" fmla="*/ -149 h 452171"/>
              <a:gd name="connsiteX2" fmla="*/ 58301 w 58359"/>
              <a:gd name="connsiteY2" fmla="*/ 452023 h 452171"/>
              <a:gd name="connsiteX3" fmla="*/ -58 w 58359"/>
              <a:gd name="connsiteY3" fmla="*/ 452023 h 4521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359" h="452171">
                <a:moveTo>
                  <a:pt x="-58" y="-149"/>
                </a:moveTo>
                <a:lnTo>
                  <a:pt x="58301" y="-149"/>
                </a:lnTo>
                <a:lnTo>
                  <a:pt x="58301" y="452023"/>
                </a:lnTo>
                <a:lnTo>
                  <a:pt x="-58" y="452023"/>
                </a:lnTo>
                <a:close/>
              </a:path>
            </a:pathLst>
          </a:custGeom>
          <a:solidFill>
            <a:srgbClr val="0070C0"/>
          </a:solidFill>
          <a:ln w="249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40" name="Oval 439">
            <a:extLst>
              <a:ext uri="{FF2B5EF4-FFF2-40B4-BE49-F238E27FC236}">
                <a16:creationId xmlns:a16="http://schemas.microsoft.com/office/drawing/2014/main" id="{4062FA20-E4CF-C51E-59B3-4FD4379A5FF9}"/>
              </a:ext>
            </a:extLst>
          </p:cNvPr>
          <p:cNvSpPr/>
          <p:nvPr/>
        </p:nvSpPr>
        <p:spPr>
          <a:xfrm>
            <a:off x="8737688" y="1946312"/>
            <a:ext cx="1283236" cy="1283236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1" name="Oval 440">
            <a:extLst>
              <a:ext uri="{FF2B5EF4-FFF2-40B4-BE49-F238E27FC236}">
                <a16:creationId xmlns:a16="http://schemas.microsoft.com/office/drawing/2014/main" id="{92092DDC-88A1-6800-1236-B90F3E2C8123}"/>
              </a:ext>
            </a:extLst>
          </p:cNvPr>
          <p:cNvSpPr/>
          <p:nvPr/>
        </p:nvSpPr>
        <p:spPr>
          <a:xfrm>
            <a:off x="8873710" y="2082333"/>
            <a:ext cx="1011193" cy="1011193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177800" sx="102000" sy="102000" algn="ctr" rotWithShape="0">
              <a:prstClr val="black">
                <a:alpha val="2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2" name="Oval 441">
            <a:extLst>
              <a:ext uri="{FF2B5EF4-FFF2-40B4-BE49-F238E27FC236}">
                <a16:creationId xmlns:a16="http://schemas.microsoft.com/office/drawing/2014/main" id="{4C2CD22F-460A-23D0-D79A-DE7588097A31}"/>
              </a:ext>
            </a:extLst>
          </p:cNvPr>
          <p:cNvSpPr/>
          <p:nvPr/>
        </p:nvSpPr>
        <p:spPr>
          <a:xfrm>
            <a:off x="7588227" y="4299041"/>
            <a:ext cx="1283236" cy="1283236"/>
          </a:xfrm>
          <a:prstGeom prst="ellipse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43" name="Oval 442">
            <a:extLst>
              <a:ext uri="{FF2B5EF4-FFF2-40B4-BE49-F238E27FC236}">
                <a16:creationId xmlns:a16="http://schemas.microsoft.com/office/drawing/2014/main" id="{8AE089ED-236A-6970-068E-5B419D92815A}"/>
              </a:ext>
            </a:extLst>
          </p:cNvPr>
          <p:cNvSpPr/>
          <p:nvPr/>
        </p:nvSpPr>
        <p:spPr>
          <a:xfrm>
            <a:off x="7724249" y="4435063"/>
            <a:ext cx="1011193" cy="1011193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177800" sx="102000" sy="102000" algn="ctr" rotWithShape="0">
              <a:prstClr val="black">
                <a:alpha val="2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4" name="TextBox 443">
            <a:extLst>
              <a:ext uri="{FF2B5EF4-FFF2-40B4-BE49-F238E27FC236}">
                <a16:creationId xmlns:a16="http://schemas.microsoft.com/office/drawing/2014/main" id="{DB92AFE4-1A32-89B7-7400-35CDFA0E3E6B}"/>
              </a:ext>
            </a:extLst>
          </p:cNvPr>
          <p:cNvSpPr txBox="1"/>
          <p:nvPr/>
        </p:nvSpPr>
        <p:spPr>
          <a:xfrm>
            <a:off x="7635985" y="4788882"/>
            <a:ext cx="119142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Lora" pitchFamily="2" charset="0"/>
              </a:rPr>
              <a:t>1788 – 1802</a:t>
            </a:r>
          </a:p>
        </p:txBody>
      </p:sp>
      <p:sp>
        <p:nvSpPr>
          <p:cNvPr id="445" name="TextBox 444">
            <a:extLst>
              <a:ext uri="{FF2B5EF4-FFF2-40B4-BE49-F238E27FC236}">
                <a16:creationId xmlns:a16="http://schemas.microsoft.com/office/drawing/2014/main" id="{C192CB39-F42E-12FE-25CC-2822C8B8D2A8}"/>
              </a:ext>
            </a:extLst>
          </p:cNvPr>
          <p:cNvSpPr txBox="1"/>
          <p:nvPr/>
        </p:nvSpPr>
        <p:spPr>
          <a:xfrm>
            <a:off x="8766593" y="2449428"/>
            <a:ext cx="122542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Lora" pitchFamily="2" charset="0"/>
              </a:rPr>
              <a:t>1802 – 1945</a:t>
            </a:r>
          </a:p>
        </p:txBody>
      </p:sp>
      <p:sp>
        <p:nvSpPr>
          <p:cNvPr id="446" name="TextBox 445">
            <a:extLst>
              <a:ext uri="{FF2B5EF4-FFF2-40B4-BE49-F238E27FC236}">
                <a16:creationId xmlns:a16="http://schemas.microsoft.com/office/drawing/2014/main" id="{EA50CA36-9948-B32E-EFA5-EE1D0D14CF9B}"/>
              </a:ext>
            </a:extLst>
          </p:cNvPr>
          <p:cNvSpPr txBox="1"/>
          <p:nvPr/>
        </p:nvSpPr>
        <p:spPr>
          <a:xfrm>
            <a:off x="7511398" y="5564108"/>
            <a:ext cx="143974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>
              <a:spcBef>
                <a:spcPts val="600"/>
              </a:spcBef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Tay Son dynasties</a:t>
            </a:r>
          </a:p>
        </p:txBody>
      </p:sp>
      <p:sp>
        <p:nvSpPr>
          <p:cNvPr id="447" name="TextBox 446">
            <a:extLst>
              <a:ext uri="{FF2B5EF4-FFF2-40B4-BE49-F238E27FC236}">
                <a16:creationId xmlns:a16="http://schemas.microsoft.com/office/drawing/2014/main" id="{EDC91AB4-E91B-742D-449F-796E44A37195}"/>
              </a:ext>
            </a:extLst>
          </p:cNvPr>
          <p:cNvSpPr txBox="1"/>
          <p:nvPr/>
        </p:nvSpPr>
        <p:spPr>
          <a:xfrm>
            <a:off x="8268470" y="1165522"/>
            <a:ext cx="238010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>
              <a:spcBef>
                <a:spcPts val="600"/>
              </a:spcBef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Nguyen dynasty</a:t>
            </a:r>
          </a:p>
        </p:txBody>
      </p:sp>
      <p:sp>
        <p:nvSpPr>
          <p:cNvPr id="449" name="AutoShape 41">
            <a:extLst>
              <a:ext uri="{FF2B5EF4-FFF2-40B4-BE49-F238E27FC236}">
                <a16:creationId xmlns:a16="http://schemas.microsoft.com/office/drawing/2014/main" id="{AE8436BD-1A18-3AB2-DBB5-BD486DF6D475}"/>
              </a:ext>
            </a:extLst>
          </p:cNvPr>
          <p:cNvSpPr/>
          <p:nvPr/>
        </p:nvSpPr>
        <p:spPr>
          <a:xfrm>
            <a:off x="2566047" y="6544707"/>
            <a:ext cx="7912977" cy="0"/>
          </a:xfrm>
          <a:prstGeom prst="line">
            <a:avLst/>
          </a:prstGeom>
          <a:ln w="38100" cap="flat">
            <a:solidFill>
              <a:schemeClr val="tx1">
                <a:lumMod val="50000"/>
              </a:schemeClr>
            </a:solidFill>
            <a:prstDash val="dash"/>
            <a:headEnd type="arrow" w="med" len="sm"/>
            <a:tailEnd type="arrow" w="med" len="sm"/>
          </a:ln>
        </p:spPr>
        <p:txBody>
          <a:bodyPr/>
          <a:lstStyle/>
          <a:p>
            <a:endParaRPr lang="en-US"/>
          </a:p>
        </p:txBody>
      </p:sp>
      <p:sp>
        <p:nvSpPr>
          <p:cNvPr id="450" name="AutoShape 41">
            <a:extLst>
              <a:ext uri="{FF2B5EF4-FFF2-40B4-BE49-F238E27FC236}">
                <a16:creationId xmlns:a16="http://schemas.microsoft.com/office/drawing/2014/main" id="{E38B12B8-8627-810D-D782-05696DA0BA61}"/>
              </a:ext>
            </a:extLst>
          </p:cNvPr>
          <p:cNvSpPr/>
          <p:nvPr/>
        </p:nvSpPr>
        <p:spPr>
          <a:xfrm>
            <a:off x="1003419" y="6544707"/>
            <a:ext cx="1496879" cy="0"/>
          </a:xfrm>
          <a:prstGeom prst="line">
            <a:avLst/>
          </a:prstGeom>
          <a:ln w="38100" cap="flat">
            <a:solidFill>
              <a:schemeClr val="tx1">
                <a:lumMod val="50000"/>
              </a:schemeClr>
            </a:solidFill>
            <a:prstDash val="dash"/>
            <a:headEnd type="arrow" w="med" len="sm"/>
            <a:tailEnd type="arrow" w="med" len="sm"/>
          </a:ln>
        </p:spPr>
        <p:txBody>
          <a:bodyPr/>
          <a:lstStyle/>
          <a:p>
            <a:endParaRPr lang="en-US"/>
          </a:p>
        </p:txBody>
      </p:sp>
      <p:sp>
        <p:nvSpPr>
          <p:cNvPr id="452" name="TextBox 451">
            <a:extLst>
              <a:ext uri="{FF2B5EF4-FFF2-40B4-BE49-F238E27FC236}">
                <a16:creationId xmlns:a16="http://schemas.microsoft.com/office/drawing/2014/main" id="{7B2EF8E4-D659-118F-4F44-EE80FD91D926}"/>
              </a:ext>
            </a:extLst>
          </p:cNvPr>
          <p:cNvSpPr txBox="1"/>
          <p:nvPr/>
        </p:nvSpPr>
        <p:spPr>
          <a:xfrm>
            <a:off x="5736990" y="6211848"/>
            <a:ext cx="164984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>
              <a:spcBef>
                <a:spcPts val="600"/>
              </a:spcBef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D</a:t>
            </a:r>
          </a:p>
        </p:txBody>
      </p:sp>
      <p:sp>
        <p:nvSpPr>
          <p:cNvPr id="453" name="TextBox 452">
            <a:extLst>
              <a:ext uri="{FF2B5EF4-FFF2-40B4-BE49-F238E27FC236}">
                <a16:creationId xmlns:a16="http://schemas.microsoft.com/office/drawing/2014/main" id="{FE7139C5-4902-33E6-F33B-955C245FC5EC}"/>
              </a:ext>
            </a:extLst>
          </p:cNvPr>
          <p:cNvSpPr txBox="1"/>
          <p:nvPr/>
        </p:nvSpPr>
        <p:spPr>
          <a:xfrm>
            <a:off x="1027192" y="6217816"/>
            <a:ext cx="164984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>
              <a:spcBef>
                <a:spcPts val="600"/>
              </a:spcBef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BC</a:t>
            </a:r>
          </a:p>
        </p:txBody>
      </p:sp>
      <p:sp>
        <p:nvSpPr>
          <p:cNvPr id="454" name="TextBox 453">
            <a:extLst>
              <a:ext uri="{FF2B5EF4-FFF2-40B4-BE49-F238E27FC236}">
                <a16:creationId xmlns:a16="http://schemas.microsoft.com/office/drawing/2014/main" id="{4620FD1A-A765-242F-8D35-626835F5CE17}"/>
              </a:ext>
            </a:extLst>
          </p:cNvPr>
          <p:cNvSpPr txBox="1"/>
          <p:nvPr/>
        </p:nvSpPr>
        <p:spPr>
          <a:xfrm>
            <a:off x="-424715" y="3673261"/>
            <a:ext cx="200824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>
              <a:spcBef>
                <a:spcPts val="600"/>
              </a:spcBef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year</a:t>
            </a:r>
          </a:p>
        </p:txBody>
      </p:sp>
    </p:spTree>
    <p:extLst>
      <p:ext uri="{BB962C8B-B14F-4D97-AF65-F5344CB8AC3E}">
        <p14:creationId xmlns:p14="http://schemas.microsoft.com/office/powerpoint/2010/main" val="30491903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3A4742-1EB4-E844-A794-487F46CB45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1A5EEA4-DDEB-347A-23E3-3646B1B66D7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98082" y="1098000"/>
            <a:ext cx="7808233" cy="1336856"/>
          </a:xfrm>
        </p:spPr>
        <p:txBody>
          <a:bodyPr/>
          <a:lstStyle/>
          <a:p>
            <a:pPr marL="669323" lvl="1" indent="-334662">
              <a:lnSpc>
                <a:spcPct val="100000"/>
              </a:lnSpc>
            </a:pPr>
            <a:r>
              <a:rPr lang="en-US" dirty="0"/>
              <a:t>Time: 30,000 BC - 2000 BC</a:t>
            </a:r>
          </a:p>
          <a:p>
            <a:pPr marL="669323" lvl="1" indent="-334662">
              <a:lnSpc>
                <a:spcPct val="100000"/>
              </a:lnSpc>
            </a:pPr>
            <a:r>
              <a:rPr lang="en-US" dirty="0"/>
              <a:t>Characteristics: Humans appear, hunt - gather, stone tools.</a:t>
            </a:r>
            <a:endParaRPr lang="en-US" dirty="0">
              <a:solidFill>
                <a:srgbClr val="333333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662EBD8-40AC-C46F-A158-B7335EAF8D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historic period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745C5C8-8040-0B98-A8C7-44E4C18F66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89228" y="3403778"/>
            <a:ext cx="4605629" cy="345422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7E0F111-C5C7-ED01-307D-F1ED64CA219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r="11136"/>
          <a:stretch>
            <a:fillRect/>
          </a:stretch>
        </p:blipFill>
        <p:spPr>
          <a:xfrm>
            <a:off x="2" y="3403098"/>
            <a:ext cx="4093534" cy="345490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68D7008-5A21-7281-F562-EE5EC393F994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r="28295"/>
          <a:stretch>
            <a:fillRect/>
          </a:stretch>
        </p:blipFill>
        <p:spPr>
          <a:xfrm>
            <a:off x="8889515" y="3403778"/>
            <a:ext cx="3302485" cy="34542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7188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601</TotalTime>
  <Words>2358</Words>
  <Application>Microsoft Office PowerPoint</Application>
  <PresentationFormat>Widescreen</PresentationFormat>
  <Paragraphs>339</Paragraphs>
  <Slides>39</Slides>
  <Notes>20</Notes>
  <HiddenSlides>9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9</vt:i4>
      </vt:variant>
    </vt:vector>
  </HeadingPairs>
  <TitlesOfParts>
    <vt:vector size="45" baseType="lpstr">
      <vt:lpstr>Arial</vt:lpstr>
      <vt:lpstr>Calibri</vt:lpstr>
      <vt:lpstr>Lora</vt:lpstr>
      <vt:lpstr>Segoe UI Semibold</vt:lpstr>
      <vt:lpstr>bbv template EN</vt:lpstr>
      <vt:lpstr>think-cell Slide</vt:lpstr>
      <vt:lpstr>PowerPoint Presentation</vt:lpstr>
      <vt:lpstr>YPP 4th</vt:lpstr>
      <vt:lpstr>Presentation on Ho Chi Minh City Museum of History</vt:lpstr>
      <vt:lpstr>Agenda</vt:lpstr>
      <vt:lpstr>INTRODUCTION</vt:lpstr>
      <vt:lpstr>Introduction</vt:lpstr>
      <vt:lpstr>VIET NAM HISTORY</vt:lpstr>
      <vt:lpstr>Vietnamese historical timeline</vt:lpstr>
      <vt:lpstr>Prehistoric period</vt:lpstr>
      <vt:lpstr>The first period of Founding and Struggling for Independence</vt:lpstr>
      <vt:lpstr>Ngo - Dinh - Early Le dynasties</vt:lpstr>
      <vt:lpstr>Ly dynasty</vt:lpstr>
      <vt:lpstr>Tran - Ho dynasties</vt:lpstr>
      <vt:lpstr>Posterior Le - Mac, Trinh - Nguyen Lords dynasties</vt:lpstr>
      <vt:lpstr>Tay Son dynasty</vt:lpstr>
      <vt:lpstr>Nguyen dynasty</vt:lpstr>
      <vt:lpstr>Vietnamese culture timeline</vt:lpstr>
      <vt:lpstr>Champa culture</vt:lpstr>
      <vt:lpstr>Oc Eo culture</vt:lpstr>
      <vt:lpstr>Stone carvings of Cambodia</vt:lpstr>
      <vt:lpstr>Maritime trades – Shipwrecked ceramics</vt:lpstr>
      <vt:lpstr>Minority cultures from Southern provinces</vt:lpstr>
      <vt:lpstr>Buddhist Statues of Asian countries</vt:lpstr>
      <vt:lpstr>Collections</vt:lpstr>
      <vt:lpstr>The Cannons</vt:lpstr>
      <vt:lpstr>Duong Ha Collection</vt:lpstr>
      <vt:lpstr>Vuong Hong Sen Collection</vt:lpstr>
      <vt:lpstr>Temporary Exhibition</vt:lpstr>
      <vt:lpstr>Q&amp;A</vt:lpstr>
      <vt:lpstr>PowerPoint Presentation</vt:lpstr>
      <vt:lpstr>bbv template EN</vt:lpstr>
      <vt:lpstr>bbv Master layouts &amp; slide library</vt:lpstr>
      <vt:lpstr>Transfer of existing slides into the new Master</vt:lpstr>
      <vt:lpstr>Change icon colour</vt:lpstr>
      <vt:lpstr>Insert image into placeholder</vt:lpstr>
      <vt:lpstr>Insert image into mock-up screen (mobile/laptop)</vt:lpstr>
      <vt:lpstr>bbv template EN</vt:lpstr>
      <vt:lpstr>Working area, guides &amp; ruler</vt:lpstr>
      <vt:lpstr>bbv colour them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Dao Trong Vo</dc:creator>
  <cp:lastModifiedBy>VÕ TRẦN QUANG THÔNG</cp:lastModifiedBy>
  <cp:revision>237</cp:revision>
  <dcterms:created xsi:type="dcterms:W3CDTF">2025-07-10T03:51:23Z</dcterms:created>
  <dcterms:modified xsi:type="dcterms:W3CDTF">2025-08-24T09:41:06Z</dcterms:modified>
</cp:coreProperties>
</file>